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8.xml" ContentType="application/vnd.openxmlformats-officedocument.them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9.xml" ContentType="application/vnd.openxmlformats-officedocument.theme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notesSlides/notesSlide6.xml" ContentType="application/vnd.openxmlformats-officedocument.presentationml.notesSlide+xml"/>
  <Override PartName="/ppt/tags/tag54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  <p:sldMasterId id="2147483894" r:id="rId3"/>
    <p:sldMasterId id="2147483911" r:id="rId4"/>
    <p:sldMasterId id="2147483917" r:id="rId5"/>
    <p:sldMasterId id="2147483923" r:id="rId6"/>
    <p:sldMasterId id="2147483931" r:id="rId7"/>
    <p:sldMasterId id="2147483941" r:id="rId8"/>
    <p:sldMasterId id="2147483948" r:id="rId9"/>
    <p:sldMasterId id="2147483972" r:id="rId10"/>
  </p:sldMasterIdLst>
  <p:notesMasterIdLst>
    <p:notesMasterId r:id="rId21"/>
  </p:notesMasterIdLst>
  <p:handoutMasterIdLst>
    <p:handoutMasterId r:id="rId22"/>
  </p:handoutMasterIdLst>
  <p:sldIdLst>
    <p:sldId id="2145706466" r:id="rId11"/>
    <p:sldId id="2145706462" r:id="rId12"/>
    <p:sldId id="573" r:id="rId13"/>
    <p:sldId id="2145706463" r:id="rId14"/>
    <p:sldId id="2145706467" r:id="rId15"/>
    <p:sldId id="2147470437" r:id="rId16"/>
    <p:sldId id="570" r:id="rId17"/>
    <p:sldId id="571" r:id="rId18"/>
    <p:sldId id="572" r:id="rId19"/>
    <p:sldId id="2134805436" r:id="rId20"/>
  </p:sldIdLst>
  <p:sldSz cx="12192000" cy="6858000"/>
  <p:notesSz cx="6819900" cy="99187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220"/>
    <a:srgbClr val="78B9E7"/>
    <a:srgbClr val="589131"/>
    <a:srgbClr val="2082D4"/>
    <a:srgbClr val="76C043"/>
    <a:srgbClr val="F47521"/>
    <a:srgbClr val="FFD966"/>
    <a:srgbClr val="8FAADC"/>
    <a:srgbClr val="A9D18E"/>
    <a:srgbClr val="3857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EC20E35-A176-4012-BC5E-935CFFF8708E}" styleName="中度样式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48" autoAdjust="0"/>
    <p:restoredTop sz="85792" autoAdjust="0"/>
  </p:normalViewPr>
  <p:slideViewPr>
    <p:cSldViewPr snapToGrid="0" snapToObjects="1">
      <p:cViewPr varScale="1">
        <p:scale>
          <a:sx n="57" d="100"/>
          <a:sy n="57" d="100"/>
        </p:scale>
        <p:origin x="1236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4483" y="44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697" cy="4964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62680" y="0"/>
            <a:ext cx="2955697" cy="4964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5 December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2262"/>
            <a:ext cx="2955697" cy="4964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62680" y="9422262"/>
            <a:ext cx="2955697" cy="4964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7657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7657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5 December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595313"/>
            <a:ext cx="5949950" cy="3348037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7656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7656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5769" y="4773186"/>
            <a:ext cx="5408361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4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E21-71F2-418F-850C-8BDFCCDA911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33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3BAB0-4767-4982-A891-2FB22CCBE5D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4744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362E7-059D-4556-8793-71B15B88549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020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23BAB0-4767-4982-A891-2FB22CCBE5D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19882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Bogle" panose="020B0503020203060203" pitchFamily="34" charset="77"/>
                <a:ea typeface="+mn-ea"/>
                <a:cs typeface="+mn-cs"/>
              </a:rPr>
              <a:t>The market is flooded with offerings, but a major gap exists between the targeted value and the value realize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Bogle" panose="020B0503020203060203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362E7-059D-4556-8793-71B15B8854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45042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/>
              <a:t>数码化，数字化，数字化转型</a:t>
            </a:r>
            <a:endParaRPr lang="en-GB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465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362E7-059D-4556-8793-71B15B88549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427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362E7-059D-4556-8793-71B15B88549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0722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5 December 2023</a:t>
            </a:fld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674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image" Target="../media/image5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emf"/><Relationship Id="rId4" Type="http://schemas.openxmlformats.org/officeDocument/2006/relationships/tags" Target="../tags/tag25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6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4.emf"/><Relationship Id="rId5" Type="http://schemas.openxmlformats.org/officeDocument/2006/relationships/tags" Target="../tags/tag79.xml"/><Relationship Id="rId10" Type="http://schemas.openxmlformats.org/officeDocument/2006/relationships/image" Target="../media/image7.emf"/><Relationship Id="rId4" Type="http://schemas.openxmlformats.org/officeDocument/2006/relationships/tags" Target="../tags/tag78.xml"/><Relationship Id="rId9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6.emf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4.emf"/><Relationship Id="rId5" Type="http://schemas.openxmlformats.org/officeDocument/2006/relationships/tags" Target="../tags/tag86.xml"/><Relationship Id="rId10" Type="http://schemas.openxmlformats.org/officeDocument/2006/relationships/image" Target="../media/image1.emf"/><Relationship Id="rId4" Type="http://schemas.openxmlformats.org/officeDocument/2006/relationships/tags" Target="../tags/tag85.xml"/><Relationship Id="rId9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1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6.emf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png"/><Relationship Id="rId5" Type="http://schemas.openxmlformats.org/officeDocument/2006/relationships/tags" Target="../tags/tag93.xml"/><Relationship Id="rId10" Type="http://schemas.openxmlformats.org/officeDocument/2006/relationships/image" Target="../media/image4.emf"/><Relationship Id="rId4" Type="http://schemas.openxmlformats.org/officeDocument/2006/relationships/tags" Target="../tags/tag92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6.xml"/><Relationship Id="rId7" Type="http://schemas.openxmlformats.org/officeDocument/2006/relationships/image" Target="../media/image5.emf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5" Type="http://schemas.openxmlformats.org/officeDocument/2006/relationships/image" Target="../media/image4.emf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22.xml"/><Relationship Id="rId7" Type="http://schemas.openxmlformats.org/officeDocument/2006/relationships/image" Target="../media/image5.emf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6.emf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4.emf"/><Relationship Id="rId4" Type="http://schemas.openxmlformats.org/officeDocument/2006/relationships/tags" Target="../tags/tag123.xml"/><Relationship Id="rId9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8.xml"/><Relationship Id="rId4" Type="http://schemas.openxmlformats.org/officeDocument/2006/relationships/tags" Target="../tags/tag12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3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3.xml"/><Relationship Id="rId4" Type="http://schemas.openxmlformats.org/officeDocument/2006/relationships/tags" Target="../tags/tag13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6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8.xml"/><Relationship Id="rId4" Type="http://schemas.openxmlformats.org/officeDocument/2006/relationships/tags" Target="../tags/tag137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3.xml"/><Relationship Id="rId4" Type="http://schemas.openxmlformats.org/officeDocument/2006/relationships/tags" Target="../tags/tag14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4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4" Type="http://schemas.openxmlformats.org/officeDocument/2006/relationships/tags" Target="../tags/tag147.xml"/><Relationship Id="rId9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image" Target="../media/image6.emf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image" Target="../media/image4.emf"/><Relationship Id="rId5" Type="http://schemas.openxmlformats.org/officeDocument/2006/relationships/tags" Target="../tags/tag154.xml"/><Relationship Id="rId10" Type="http://schemas.openxmlformats.org/officeDocument/2006/relationships/image" Target="../media/image1.emf"/><Relationship Id="rId4" Type="http://schemas.openxmlformats.org/officeDocument/2006/relationships/tags" Target="../tags/tag153.xml"/><Relationship Id="rId9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6.emf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image" Target="../media/image4.emf"/><Relationship Id="rId5" Type="http://schemas.openxmlformats.org/officeDocument/2006/relationships/tags" Target="../tags/tag161.xml"/><Relationship Id="rId10" Type="http://schemas.openxmlformats.org/officeDocument/2006/relationships/image" Target="../media/image1.emf"/><Relationship Id="rId4" Type="http://schemas.openxmlformats.org/officeDocument/2006/relationships/tags" Target="../tags/tag160.xml"/><Relationship Id="rId9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12" Type="http://schemas.openxmlformats.org/officeDocument/2006/relationships/image" Target="../media/image6.emf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image" Target="../media/image4.emf"/><Relationship Id="rId5" Type="http://schemas.openxmlformats.org/officeDocument/2006/relationships/tags" Target="../tags/tag168.xml"/><Relationship Id="rId10" Type="http://schemas.openxmlformats.org/officeDocument/2006/relationships/image" Target="../media/image5.emf"/><Relationship Id="rId4" Type="http://schemas.openxmlformats.org/officeDocument/2006/relationships/tags" Target="../tags/tag167.xml"/><Relationship Id="rId9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image" Target="../media/image6.emf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image" Target="../media/image4.emf"/><Relationship Id="rId5" Type="http://schemas.openxmlformats.org/officeDocument/2006/relationships/tags" Target="../tags/tag175.xml"/><Relationship Id="rId10" Type="http://schemas.openxmlformats.org/officeDocument/2006/relationships/image" Target="../media/image1.emf"/><Relationship Id="rId4" Type="http://schemas.openxmlformats.org/officeDocument/2006/relationships/tags" Target="../tags/tag174.xml"/><Relationship Id="rId9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image" Target="../media/image6.emf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11" Type="http://schemas.openxmlformats.org/officeDocument/2006/relationships/image" Target="../media/image4.emf"/><Relationship Id="rId5" Type="http://schemas.openxmlformats.org/officeDocument/2006/relationships/tags" Target="../tags/tag182.xml"/><Relationship Id="rId10" Type="http://schemas.openxmlformats.org/officeDocument/2006/relationships/image" Target="../media/image5.emf"/><Relationship Id="rId4" Type="http://schemas.openxmlformats.org/officeDocument/2006/relationships/tags" Target="../tags/tag181.xml"/><Relationship Id="rId9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87.xml"/><Relationship Id="rId7" Type="http://schemas.openxmlformats.org/officeDocument/2006/relationships/oleObject" Target="../embeddings/oleObject28.bin"/><Relationship Id="rId12" Type="http://schemas.openxmlformats.org/officeDocument/2006/relationships/image" Target="../media/image6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3.png"/><Relationship Id="rId5" Type="http://schemas.openxmlformats.org/officeDocument/2006/relationships/tags" Target="../tags/tag189.xml"/><Relationship Id="rId10" Type="http://schemas.openxmlformats.org/officeDocument/2006/relationships/image" Target="../media/image4.emf"/><Relationship Id="rId4" Type="http://schemas.openxmlformats.org/officeDocument/2006/relationships/tags" Target="../tags/tag188.xml"/><Relationship Id="rId9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3.xml"/><Relationship Id="rId7" Type="http://schemas.openxmlformats.org/officeDocument/2006/relationships/oleObject" Target="../embeddings/oleObject4.bin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92.xml"/><Relationship Id="rId7" Type="http://schemas.openxmlformats.org/officeDocument/2006/relationships/image" Target="../media/image5.emf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3.xml"/><Relationship Id="rId9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4.xml"/><Relationship Id="rId5" Type="http://schemas.openxmlformats.org/officeDocument/2006/relationships/image" Target="../media/image4.emf"/><Relationship Id="rId4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17.xml"/><Relationship Id="rId7" Type="http://schemas.openxmlformats.org/officeDocument/2006/relationships/oleObject" Target="../embeddings/oleObject32.bin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9.xml"/><Relationship Id="rId4" Type="http://schemas.openxmlformats.org/officeDocument/2006/relationships/tags" Target="../tags/tag218.xml"/><Relationship Id="rId9" Type="http://schemas.openxmlformats.org/officeDocument/2006/relationships/image" Target="../media/image10.tif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10" Type="http://schemas.openxmlformats.org/officeDocument/2006/relationships/image" Target="../media/image1.emf"/><Relationship Id="rId4" Type="http://schemas.openxmlformats.org/officeDocument/2006/relationships/tags" Target="../tags/tag223.xml"/><Relationship Id="rId9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2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5" Type="http://schemas.openxmlformats.org/officeDocument/2006/relationships/tags" Target="../tags/tag231.xml"/><Relationship Id="rId4" Type="http://schemas.openxmlformats.org/officeDocument/2006/relationships/tags" Target="../tags/tag230.xml"/><Relationship Id="rId9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23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5" Type="http://schemas.openxmlformats.org/officeDocument/2006/relationships/tags" Target="../tags/tag237.xml"/><Relationship Id="rId4" Type="http://schemas.openxmlformats.org/officeDocument/2006/relationships/tags" Target="../tags/tag236.xml"/><Relationship Id="rId9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24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5" Type="http://schemas.openxmlformats.org/officeDocument/2006/relationships/tags" Target="../tags/tag243.xml"/><Relationship Id="rId4" Type="http://schemas.openxmlformats.org/officeDocument/2006/relationships/tags" Target="../tags/tag242.xml"/><Relationship Id="rId9" Type="http://schemas.openxmlformats.org/officeDocument/2006/relationships/image" Target="../media/image5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5" Type="http://schemas.openxmlformats.org/officeDocument/2006/relationships/tags" Target="../tags/tag249.xml"/><Relationship Id="rId10" Type="http://schemas.openxmlformats.org/officeDocument/2006/relationships/image" Target="../media/image5.emf"/><Relationship Id="rId4" Type="http://schemas.openxmlformats.org/officeDocument/2006/relationships/tags" Target="../tags/tag248.xml"/><Relationship Id="rId9" Type="http://schemas.openxmlformats.org/officeDocument/2006/relationships/oleObject" Target="../embeddings/oleObject37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image" Target="../media/image9.tiff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image" Target="../media/image8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tags" Target="../tags/tag257.xml"/><Relationship Id="rId11" Type="http://schemas.openxmlformats.org/officeDocument/2006/relationships/image" Target="../media/image1.emf"/><Relationship Id="rId5" Type="http://schemas.openxmlformats.org/officeDocument/2006/relationships/tags" Target="../tags/tag256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255.xml"/><Relationship Id="rId9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image" Target="../media/image9.tiff"/><Relationship Id="rId3" Type="http://schemas.openxmlformats.org/officeDocument/2006/relationships/tags" Target="../tags/tag262.xml"/><Relationship Id="rId7" Type="http://schemas.openxmlformats.org/officeDocument/2006/relationships/tags" Target="../tags/tag266.xml"/><Relationship Id="rId12" Type="http://schemas.openxmlformats.org/officeDocument/2006/relationships/image" Target="../media/image8.png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11" Type="http://schemas.openxmlformats.org/officeDocument/2006/relationships/image" Target="../media/image1.emf"/><Relationship Id="rId5" Type="http://schemas.openxmlformats.org/officeDocument/2006/relationships/tags" Target="../tags/tag264.xml"/><Relationship Id="rId10" Type="http://schemas.openxmlformats.org/officeDocument/2006/relationships/oleObject" Target="../embeddings/oleObject39.bin"/><Relationship Id="rId4" Type="http://schemas.openxmlformats.org/officeDocument/2006/relationships/tags" Target="../tags/tag263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8.xml"/><Relationship Id="rId7" Type="http://schemas.openxmlformats.org/officeDocument/2006/relationships/oleObject" Target="../embeddings/oleObject5.bin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image" Target="../media/image9.tiff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12" Type="http://schemas.openxmlformats.org/officeDocument/2006/relationships/image" Target="../media/image8.png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11" Type="http://schemas.openxmlformats.org/officeDocument/2006/relationships/image" Target="../media/image1.emf"/><Relationship Id="rId5" Type="http://schemas.openxmlformats.org/officeDocument/2006/relationships/tags" Target="../tags/tag272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271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image" Target="../media/image9.tiff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image" Target="../media/image8.png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tags" Target="../tags/tag281.xml"/><Relationship Id="rId11" Type="http://schemas.openxmlformats.org/officeDocument/2006/relationships/image" Target="../media/image7.emf"/><Relationship Id="rId5" Type="http://schemas.openxmlformats.org/officeDocument/2006/relationships/tags" Target="../tags/tag280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279.xml"/><Relationship Id="rId9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image" Target="../media/image9.tiff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image" Target="../media/image8.png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6" Type="http://schemas.openxmlformats.org/officeDocument/2006/relationships/tags" Target="../tags/tag289.xml"/><Relationship Id="rId11" Type="http://schemas.openxmlformats.org/officeDocument/2006/relationships/image" Target="../media/image1.emf"/><Relationship Id="rId5" Type="http://schemas.openxmlformats.org/officeDocument/2006/relationships/tags" Target="../tags/tag288.xml"/><Relationship Id="rId10" Type="http://schemas.openxmlformats.org/officeDocument/2006/relationships/oleObject" Target="../embeddings/oleObject42.bin"/><Relationship Id="rId4" Type="http://schemas.openxmlformats.org/officeDocument/2006/relationships/tags" Target="../tags/tag287.xml"/><Relationship Id="rId9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29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image" Target="../media/image9.tiff"/><Relationship Id="rId5" Type="http://schemas.openxmlformats.org/officeDocument/2006/relationships/tags" Target="../tags/tag296.xml"/><Relationship Id="rId10" Type="http://schemas.openxmlformats.org/officeDocument/2006/relationships/image" Target="../media/image8.png"/><Relationship Id="rId4" Type="http://schemas.openxmlformats.org/officeDocument/2006/relationships/tags" Target="../tags/tag295.xml"/><Relationship Id="rId9" Type="http://schemas.openxmlformats.org/officeDocument/2006/relationships/image" Target="../media/image5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00.xml"/><Relationship Id="rId7" Type="http://schemas.openxmlformats.org/officeDocument/2006/relationships/image" Target="../media/image5.emf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01.xml"/><Relationship Id="rId9" Type="http://schemas.openxmlformats.org/officeDocument/2006/relationships/image" Target="../media/image9.tif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tiff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1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5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4" Type="http://schemas.openxmlformats.org/officeDocument/2006/relationships/tags" Target="../tags/tag30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8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png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9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3.xml"/><Relationship Id="rId7" Type="http://schemas.openxmlformats.org/officeDocument/2006/relationships/oleObject" Target="../embeddings/oleObject6.bin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1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8.png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4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8.png"/><Relationship Id="rId2" Type="http://schemas.openxmlformats.org/officeDocument/2006/relationships/tags" Target="../tags/tag376.xml"/><Relationship Id="rId1" Type="http://schemas.openxmlformats.org/officeDocument/2006/relationships/tags" Target="../tags/tag375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9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5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5" Type="http://schemas.openxmlformats.org/officeDocument/2006/relationships/tags" Target="../tags/tag384.xml"/><Relationship Id="rId10" Type="http://schemas.openxmlformats.org/officeDocument/2006/relationships/image" Target="../media/image1.emf"/><Relationship Id="rId4" Type="http://schemas.openxmlformats.org/officeDocument/2006/relationships/tags" Target="../tags/tag383.xml"/><Relationship Id="rId9" Type="http://schemas.openxmlformats.org/officeDocument/2006/relationships/oleObject" Target="../embeddings/oleObject6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0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8.png"/><Relationship Id="rId2" Type="http://schemas.openxmlformats.org/officeDocument/2006/relationships/tags" Target="../tags/tag406.xml"/><Relationship Id="rId1" Type="http://schemas.openxmlformats.org/officeDocument/2006/relationships/tags" Target="../tags/tag405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5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0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412.xml"/><Relationship Id="rId7" Type="http://schemas.openxmlformats.org/officeDocument/2006/relationships/tags" Target="../tags/tag416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5" Type="http://schemas.openxmlformats.org/officeDocument/2006/relationships/tags" Target="../tags/tag414.xml"/><Relationship Id="rId10" Type="http://schemas.openxmlformats.org/officeDocument/2006/relationships/image" Target="../media/image1.emf"/><Relationship Id="rId4" Type="http://schemas.openxmlformats.org/officeDocument/2006/relationships/tags" Target="../tags/tag413.xml"/><Relationship Id="rId9" Type="http://schemas.openxmlformats.org/officeDocument/2006/relationships/oleObject" Target="../embeddings/oleObject67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5" Type="http://schemas.openxmlformats.org/officeDocument/2006/relationships/tags" Target="../tags/tag421.xml"/><Relationship Id="rId10" Type="http://schemas.openxmlformats.org/officeDocument/2006/relationships/image" Target="../media/image1.emf"/><Relationship Id="rId4" Type="http://schemas.openxmlformats.org/officeDocument/2006/relationships/tags" Target="../tags/tag420.xml"/><Relationship Id="rId9" Type="http://schemas.openxmlformats.org/officeDocument/2006/relationships/oleObject" Target="../embeddings/oleObject68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6.emf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4.emf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1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1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2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68.xml"/><Relationship Id="rId7" Type="http://schemas.openxmlformats.org/officeDocument/2006/relationships/image" Target="../media/image5.emf"/><Relationship Id="rId2" Type="http://schemas.openxmlformats.org/officeDocument/2006/relationships/tags" Target="../tags/tag467.xml"/><Relationship Id="rId1" Type="http://schemas.openxmlformats.org/officeDocument/2006/relationships/tags" Target="../tags/tag466.xml"/><Relationship Id="rId6" Type="http://schemas.openxmlformats.org/officeDocument/2006/relationships/oleObject" Target="../embeddings/oleObject74.bin"/><Relationship Id="rId11" Type="http://schemas.openxmlformats.org/officeDocument/2006/relationships/image" Target="../media/image6.emf"/><Relationship Id="rId5" Type="http://schemas.openxmlformats.org/officeDocument/2006/relationships/slideMaster" Target="../slideMasters/slideMaster9.xml"/><Relationship Id="rId10" Type="http://schemas.openxmlformats.org/officeDocument/2006/relationships/image" Target="../media/image4.emf"/><Relationship Id="rId4" Type="http://schemas.openxmlformats.org/officeDocument/2006/relationships/tags" Target="../tags/tag469.xml"/><Relationship Id="rId9" Type="http://schemas.openxmlformats.org/officeDocument/2006/relationships/image" Target="../media/image3.png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72.xml"/><Relationship Id="rId7" Type="http://schemas.openxmlformats.org/officeDocument/2006/relationships/oleObject" Target="../embeddings/oleObject75.bin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474.xml"/><Relationship Id="rId4" Type="http://schemas.openxmlformats.org/officeDocument/2006/relationships/tags" Target="../tags/tag473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77.xml"/><Relationship Id="rId7" Type="http://schemas.openxmlformats.org/officeDocument/2006/relationships/oleObject" Target="../embeddings/oleObject76.bin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479.xml"/><Relationship Id="rId4" Type="http://schemas.openxmlformats.org/officeDocument/2006/relationships/tags" Target="../tags/tag478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82.xml"/><Relationship Id="rId7" Type="http://schemas.openxmlformats.org/officeDocument/2006/relationships/oleObject" Target="../embeddings/oleObject77.bin"/><Relationship Id="rId2" Type="http://schemas.openxmlformats.org/officeDocument/2006/relationships/tags" Target="../tags/tag481.xml"/><Relationship Id="rId1" Type="http://schemas.openxmlformats.org/officeDocument/2006/relationships/tags" Target="../tags/tag480.x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484.xml"/><Relationship Id="rId4" Type="http://schemas.openxmlformats.org/officeDocument/2006/relationships/tags" Target="../tags/tag483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87.xml"/><Relationship Id="rId7" Type="http://schemas.openxmlformats.org/officeDocument/2006/relationships/oleObject" Target="../embeddings/oleObject78.bin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489.xml"/><Relationship Id="rId4" Type="http://schemas.openxmlformats.org/officeDocument/2006/relationships/tags" Target="../tags/tag488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49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6" Type="http://schemas.openxmlformats.org/officeDocument/2006/relationships/tags" Target="../tags/tag495.xml"/><Relationship Id="rId5" Type="http://schemas.openxmlformats.org/officeDocument/2006/relationships/tags" Target="../tags/tag494.xml"/><Relationship Id="rId4" Type="http://schemas.openxmlformats.org/officeDocument/2006/relationships/tags" Target="../tags/tag493.xml"/><Relationship Id="rId9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image" Target="../media/image6.emf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4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image" Target="../media/image1.emf"/><Relationship Id="rId5" Type="http://schemas.openxmlformats.org/officeDocument/2006/relationships/tags" Target="../tags/tag64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3.xml"/><Relationship Id="rId9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503.xml"/><Relationship Id="rId13" Type="http://schemas.openxmlformats.org/officeDocument/2006/relationships/image" Target="../media/image6.emf"/><Relationship Id="rId3" Type="http://schemas.openxmlformats.org/officeDocument/2006/relationships/tags" Target="../tags/tag498.xml"/><Relationship Id="rId7" Type="http://schemas.openxmlformats.org/officeDocument/2006/relationships/tags" Target="../tags/tag502.xml"/><Relationship Id="rId12" Type="http://schemas.openxmlformats.org/officeDocument/2006/relationships/image" Target="../media/image4.emf"/><Relationship Id="rId2" Type="http://schemas.openxmlformats.org/officeDocument/2006/relationships/tags" Target="../tags/tag497.xml"/><Relationship Id="rId1" Type="http://schemas.openxmlformats.org/officeDocument/2006/relationships/tags" Target="../tags/tag496.xml"/><Relationship Id="rId6" Type="http://schemas.openxmlformats.org/officeDocument/2006/relationships/tags" Target="../tags/tag501.xml"/><Relationship Id="rId11" Type="http://schemas.openxmlformats.org/officeDocument/2006/relationships/image" Target="../media/image1.emf"/><Relationship Id="rId5" Type="http://schemas.openxmlformats.org/officeDocument/2006/relationships/tags" Target="../tags/tag500.xml"/><Relationship Id="rId10" Type="http://schemas.openxmlformats.org/officeDocument/2006/relationships/oleObject" Target="../embeddings/oleObject80.bin"/><Relationship Id="rId4" Type="http://schemas.openxmlformats.org/officeDocument/2006/relationships/tags" Target="../tags/tag499.xml"/><Relationship Id="rId9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511.xml"/><Relationship Id="rId13" Type="http://schemas.openxmlformats.org/officeDocument/2006/relationships/image" Target="../media/image6.emf"/><Relationship Id="rId3" Type="http://schemas.openxmlformats.org/officeDocument/2006/relationships/tags" Target="../tags/tag506.xml"/><Relationship Id="rId7" Type="http://schemas.openxmlformats.org/officeDocument/2006/relationships/tags" Target="../tags/tag510.xml"/><Relationship Id="rId12" Type="http://schemas.openxmlformats.org/officeDocument/2006/relationships/image" Target="../media/image4.emf"/><Relationship Id="rId2" Type="http://schemas.openxmlformats.org/officeDocument/2006/relationships/tags" Target="../tags/tag505.xml"/><Relationship Id="rId1" Type="http://schemas.openxmlformats.org/officeDocument/2006/relationships/tags" Target="../tags/tag504.xml"/><Relationship Id="rId6" Type="http://schemas.openxmlformats.org/officeDocument/2006/relationships/tags" Target="../tags/tag509.xml"/><Relationship Id="rId11" Type="http://schemas.openxmlformats.org/officeDocument/2006/relationships/image" Target="../media/image1.emf"/><Relationship Id="rId5" Type="http://schemas.openxmlformats.org/officeDocument/2006/relationships/tags" Target="../tags/tag508.xml"/><Relationship Id="rId10" Type="http://schemas.openxmlformats.org/officeDocument/2006/relationships/oleObject" Target="../embeddings/oleObject81.bin"/><Relationship Id="rId4" Type="http://schemas.openxmlformats.org/officeDocument/2006/relationships/tags" Target="../tags/tag507.xml"/><Relationship Id="rId9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514.xml"/><Relationship Id="rId7" Type="http://schemas.openxmlformats.org/officeDocument/2006/relationships/tags" Target="../tags/tag518.xml"/><Relationship Id="rId12" Type="http://schemas.openxmlformats.org/officeDocument/2006/relationships/image" Target="../media/image6.emf"/><Relationship Id="rId2" Type="http://schemas.openxmlformats.org/officeDocument/2006/relationships/tags" Target="../tags/tag513.xml"/><Relationship Id="rId1" Type="http://schemas.openxmlformats.org/officeDocument/2006/relationships/tags" Target="../tags/tag512.xml"/><Relationship Id="rId6" Type="http://schemas.openxmlformats.org/officeDocument/2006/relationships/tags" Target="../tags/tag517.xml"/><Relationship Id="rId11" Type="http://schemas.openxmlformats.org/officeDocument/2006/relationships/image" Target="../media/image4.emf"/><Relationship Id="rId5" Type="http://schemas.openxmlformats.org/officeDocument/2006/relationships/tags" Target="../tags/tag516.xml"/><Relationship Id="rId10" Type="http://schemas.openxmlformats.org/officeDocument/2006/relationships/image" Target="../media/image1.emf"/><Relationship Id="rId4" Type="http://schemas.openxmlformats.org/officeDocument/2006/relationships/tags" Target="../tags/tag515.xml"/><Relationship Id="rId9" Type="http://schemas.openxmlformats.org/officeDocument/2006/relationships/oleObject" Target="../embeddings/oleObject82.bin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12" Type="http://schemas.openxmlformats.org/officeDocument/2006/relationships/image" Target="../media/image6.emf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tags" Target="../tags/tag524.xml"/><Relationship Id="rId11" Type="http://schemas.openxmlformats.org/officeDocument/2006/relationships/image" Target="../media/image4.emf"/><Relationship Id="rId5" Type="http://schemas.openxmlformats.org/officeDocument/2006/relationships/tags" Target="../tags/tag523.xml"/><Relationship Id="rId10" Type="http://schemas.openxmlformats.org/officeDocument/2006/relationships/image" Target="../media/image7.emf"/><Relationship Id="rId4" Type="http://schemas.openxmlformats.org/officeDocument/2006/relationships/tags" Target="../tags/tag522.xml"/><Relationship Id="rId9" Type="http://schemas.openxmlformats.org/officeDocument/2006/relationships/oleObject" Target="../embeddings/oleObject83.bin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528.xml"/><Relationship Id="rId7" Type="http://schemas.openxmlformats.org/officeDocument/2006/relationships/tags" Target="../tags/tag532.xml"/><Relationship Id="rId12" Type="http://schemas.openxmlformats.org/officeDocument/2006/relationships/image" Target="../media/image6.emf"/><Relationship Id="rId2" Type="http://schemas.openxmlformats.org/officeDocument/2006/relationships/tags" Target="../tags/tag527.xml"/><Relationship Id="rId1" Type="http://schemas.openxmlformats.org/officeDocument/2006/relationships/tags" Target="../tags/tag526.xml"/><Relationship Id="rId6" Type="http://schemas.openxmlformats.org/officeDocument/2006/relationships/tags" Target="../tags/tag531.xml"/><Relationship Id="rId11" Type="http://schemas.openxmlformats.org/officeDocument/2006/relationships/image" Target="../media/image4.emf"/><Relationship Id="rId5" Type="http://schemas.openxmlformats.org/officeDocument/2006/relationships/tags" Target="../tags/tag530.xml"/><Relationship Id="rId10" Type="http://schemas.openxmlformats.org/officeDocument/2006/relationships/image" Target="../media/image1.emf"/><Relationship Id="rId4" Type="http://schemas.openxmlformats.org/officeDocument/2006/relationships/tags" Target="../tags/tag529.xml"/><Relationship Id="rId9" Type="http://schemas.openxmlformats.org/officeDocument/2006/relationships/oleObject" Target="../embeddings/oleObject84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35.xml"/><Relationship Id="rId7" Type="http://schemas.openxmlformats.org/officeDocument/2006/relationships/oleObject" Target="../embeddings/oleObject85.bin"/><Relationship Id="rId12" Type="http://schemas.openxmlformats.org/officeDocument/2006/relationships/image" Target="../media/image6.emf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slideMaster" Target="../slideMasters/slideMaster9.xml"/><Relationship Id="rId11" Type="http://schemas.openxmlformats.org/officeDocument/2006/relationships/image" Target="../media/image3.png"/><Relationship Id="rId5" Type="http://schemas.openxmlformats.org/officeDocument/2006/relationships/tags" Target="../tags/tag537.xml"/><Relationship Id="rId10" Type="http://schemas.openxmlformats.org/officeDocument/2006/relationships/image" Target="../media/image4.emf"/><Relationship Id="rId4" Type="http://schemas.openxmlformats.org/officeDocument/2006/relationships/tags" Target="../tags/tag536.xml"/><Relationship Id="rId9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40.xml"/><Relationship Id="rId7" Type="http://schemas.openxmlformats.org/officeDocument/2006/relationships/image" Target="../media/image5.emf"/><Relationship Id="rId2" Type="http://schemas.openxmlformats.org/officeDocument/2006/relationships/tags" Target="../tags/tag539.xml"/><Relationship Id="rId1" Type="http://schemas.openxmlformats.org/officeDocument/2006/relationships/tags" Target="../tags/tag538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541.xml"/><Relationship Id="rId9" Type="http://schemas.openxmlformats.org/officeDocument/2006/relationships/image" Target="../media/image6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542.xml"/><Relationship Id="rId5" Type="http://schemas.openxmlformats.org/officeDocument/2006/relationships/image" Target="../media/image4.emf"/><Relationship Id="rId4" Type="http://schemas.openxmlformats.org/officeDocument/2006/relationships/image" Target="../media/image5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44.xml"/><Relationship Id="rId1" Type="http://schemas.openxmlformats.org/officeDocument/2006/relationships/tags" Target="../tags/tag543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8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6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image" Target="../media/image4.emf"/><Relationship Id="rId5" Type="http://schemas.openxmlformats.org/officeDocument/2006/relationships/tags" Target="../tags/tag72.xml"/><Relationship Id="rId10" Type="http://schemas.openxmlformats.org/officeDocument/2006/relationships/image" Target="../media/image1.emf"/><Relationship Id="rId4" Type="http://schemas.openxmlformats.org/officeDocument/2006/relationships/tags" Target="../tags/tag71.xml"/><Relationship Id="rId9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559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543005B3-BB4D-4DEF-BF80-E61B94F148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5C766E-4676-4652-A854-74948C2099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05458B6-1D47-418E-892B-C1191D3944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232603" y="4921663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232603" y="342900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b="1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32603" y="2674707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591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C82E64-B7B1-4715-AFEB-F6C1392C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F723BE7-B19F-4222-8184-897C0B9A55DA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4D766687-FBA0-487D-BA34-4EDA0614A64E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29FF161-1384-4A93-ACBE-C50C61F1F6E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09CF9CA-9133-47E1-B08E-2AF5B65450FA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C9E8C34-6EB3-4EBA-9B75-40EB299A4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C073773-1939-431A-A672-CBE1E9F52D3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421D707E-AC32-4B1C-8F0C-854097EB2F6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7940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8727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93703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352FF5-9D31-4D76-9B4C-CC2225C865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5E6DCA5-AA91-49BA-A33E-D3CEC935B5B1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D1898EBE-4564-4A40-B3A2-FBC5AD95AF3C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56E42AB3-2187-4BBD-B156-63803DD1EBC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4B3F3EB-B0BE-4114-B47F-8548846C8A57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74641EE-67E8-4863-802F-2E7683E520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821C58C-2B9F-42A3-BBBA-BBCAF68711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90F66662-3254-4133-AD1E-E0D62B49255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361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DBC94BB3-3B93-49D3-A395-578F052DC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10757789" cy="384721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C28636-4C73-4AF1-A17C-4EF0C7F0A2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5A7C726-5073-470E-86D6-5CD6542BC9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5461918D-4C5F-47C0-8AA5-0F7CB4D63FAB}"/>
              </a:ext>
            </a:extLst>
          </p:cNvPr>
          <p:cNvGrpSpPr/>
          <p:nvPr userDrawn="1"/>
        </p:nvGrpSpPr>
        <p:grpSpPr>
          <a:xfrm>
            <a:off x="554736" y="6586304"/>
            <a:ext cx="1669586" cy="261606"/>
            <a:chOff x="264321" y="6586304"/>
            <a:chExt cx="1669586" cy="261606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D927459-238C-4861-B5E9-178DA661C2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264321" y="6600934"/>
              <a:ext cx="893483" cy="200905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5CFE227-1AB6-487E-B98D-1DFC0852447A}"/>
                </a:ext>
              </a:extLst>
            </p:cNvPr>
            <p:cNvSpPr txBox="1"/>
            <p:nvPr userDrawn="1"/>
          </p:nvSpPr>
          <p:spPr>
            <a:xfrm>
              <a:off x="1043932" y="6586304"/>
              <a:ext cx="889975" cy="261606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r>
                <a:rPr lang="en-US" sz="1100" b="1" spc="400" dirty="0">
                  <a:solidFill>
                    <a:srgbClr val="78B9E7"/>
                  </a:solidFill>
                  <a:latin typeface="Arial" panose="020B0604020202020204" pitchFamily="34" charset="0"/>
                  <a:sym typeface="Arial" panose="020B0604020202020204" pitchFamily="34" charset="0"/>
                </a:rPr>
                <a:t>CHINA</a:t>
              </a:r>
            </a:p>
          </p:txBody>
        </p:sp>
      </p:grpSp>
      <p:sp>
        <p:nvSpPr>
          <p:cNvPr id="22" name="object 33">
            <a:extLst>
              <a:ext uri="{FF2B5EF4-FFF2-40B4-BE49-F238E27FC236}">
                <a16:creationId xmlns:a16="http://schemas.microsoft.com/office/drawing/2014/main" id="{4B1F5000-CF51-40FE-BEE8-3D7F95D13CE4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EE29017D-A8B1-4404-A83B-2EB10A913E3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303C9BC0-8788-4796-AB08-B010B2866DE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91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B4F75C7-4F16-49C2-A0B8-AAC0B86594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851809-4BED-440A-AC4E-4D8EAD0BFE26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2" name="object 33">
            <a:extLst>
              <a:ext uri="{FF2B5EF4-FFF2-40B4-BE49-F238E27FC236}">
                <a16:creationId xmlns:a16="http://schemas.microsoft.com/office/drawing/2014/main" id="{DA83D48F-911C-4053-83B9-93EE3C861FD8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C225F71-9367-46FD-9EA6-74A6A2289A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59597EF-1F77-42C4-B33D-35EC08FE9C72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F40982-872F-41CE-9038-C9B5DE8911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FDEB16D-8838-4EF3-A3FD-1ED3C133D0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05506A4E-B9C5-44DC-9D7A-4571E38676C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902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0B83408-9500-461B-81D4-9F37621E59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5328213" y="2648883"/>
            <a:ext cx="1535574" cy="1560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449DE6-FE4F-204B-8BC8-933D65853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787612-4E26-2446-928F-6FE2822479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49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6768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7">
            <a:extLst>
              <a:ext uri="{FF2B5EF4-FFF2-40B4-BE49-F238E27FC236}">
                <a16:creationId xmlns:a16="http://schemas.microsoft.com/office/drawing/2014/main" id="{23364488-13EA-9A4A-9D9C-063974C7F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90" y="0"/>
            <a:ext cx="9291223" cy="832039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60136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99CF9F-FBC1-0DCD-C4B6-DB3C8DDAE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AD0F2B0-0187-48EE-302E-96A81B8C33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2723A1C-A296-FB71-2735-1063C1FEC5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4C39DF-1C64-40EA-BFA1-5E323FF06B0A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03AC71-A451-4F12-3B4A-E444B9C2B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8140276-AD25-A781-3C34-B9AC8B90E6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11ABE8-C693-4368-9FAE-09B55B1C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4876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8277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B33CAB0-5FCA-40EF-8C76-80B21F8D44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38F3945-6900-4A26-A294-94D0A45058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D342A3-E3C3-4D71-ADC9-005CC1C62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9839598-F828-499E-AE7F-A4D2CD140377}"/>
              </a:ext>
            </a:extLst>
          </p:cNvPr>
          <p:cNvGrpSpPr/>
          <p:nvPr userDrawn="1"/>
        </p:nvGrpSpPr>
        <p:grpSpPr>
          <a:xfrm>
            <a:off x="554736" y="6586304"/>
            <a:ext cx="1669586" cy="261606"/>
            <a:chOff x="264321" y="6586304"/>
            <a:chExt cx="1669586" cy="26160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391B398-5C29-421E-9032-B1E80180754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264321" y="6600934"/>
              <a:ext cx="893483" cy="200905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4751FAB-E5DA-4E4E-BA18-B0F919EF91A2}"/>
                </a:ext>
              </a:extLst>
            </p:cNvPr>
            <p:cNvSpPr txBox="1"/>
            <p:nvPr userDrawn="1"/>
          </p:nvSpPr>
          <p:spPr>
            <a:xfrm>
              <a:off x="1043932" y="6586304"/>
              <a:ext cx="889975" cy="261606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r>
                <a:rPr lang="en-US" sz="1100" b="1" spc="400" dirty="0">
                  <a:solidFill>
                    <a:srgbClr val="78B9E7"/>
                  </a:solidFill>
                  <a:latin typeface="Arial" panose="020B0604020202020204" pitchFamily="34" charset="0"/>
                  <a:sym typeface="Arial" panose="020B0604020202020204" pitchFamily="34" charset="0"/>
                </a:rPr>
                <a:t>CHINA</a:t>
              </a:r>
            </a:p>
          </p:txBody>
        </p:sp>
      </p:grpSp>
      <p:sp>
        <p:nvSpPr>
          <p:cNvPr id="13" name="object 33">
            <a:extLst>
              <a:ext uri="{FF2B5EF4-FFF2-40B4-BE49-F238E27FC236}">
                <a16:creationId xmlns:a16="http://schemas.microsoft.com/office/drawing/2014/main" id="{451E95CF-6294-4BCE-8452-75039CB7474D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80A6B7DF-921D-4AF8-88B1-5CAF085CB35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232603" y="4921663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75BF58CC-A134-4255-BC96-85DDDC50CCF2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232603" y="342900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b="1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1BBDC89E-B5C8-43E3-A600-AA3C14E67C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32603" y="2674707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526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10757789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702772"/>
            <a:ext cx="1075778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10E40F47-C146-4462-BB05-2D8B97447C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8359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10757789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690760"/>
            <a:ext cx="1075778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2" name="SlideLogoText" hidden="1">
            <a:extLst>
              <a:ext uri="{FF2B5EF4-FFF2-40B4-BE49-F238E27FC236}">
                <a16:creationId xmlns:a16="http://schemas.microsoft.com/office/drawing/2014/main" id="{9C5A2215-90F0-4F21-ABFC-493EE5024767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>
                <a:solidFill>
                  <a:schemeClr val="accent6"/>
                </a:solidFill>
              </a:rPr>
              <a:t>McKinsey &amp; Company</a:t>
            </a:r>
            <a:endParaRPr lang="en-US" sz="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84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573D584-A5A2-42C3-8ED1-583175569C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23F5FB7-FAFF-46C4-9EC5-FA340B677DD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196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868B19-A8A3-47F0-A5CE-4C6FABD6DD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6B983446-9503-4750-88D6-3900BA83222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082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727C8-2824-4EA0-BF64-C05CDC1688B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B95B0994-7C83-4C8B-8C73-C7FB533135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7085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1EFACFF-FC5D-416D-9C31-090F8378CA5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D611FCA6-B055-40D4-9273-82CA9C0F0D6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419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8F8997-47B3-4311-B441-F60E0A051F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4CF582F-4CFF-4481-962F-8A46867BDA7D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2E362CB7-DE34-43B5-981B-B0474C4074CB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47823C7E-9AF5-4C04-8543-08314E121FF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87C89A7-76B5-4FDA-90B7-5F13EA47EF70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3600608-C88D-4913-BD72-DFA39154927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0D6E094-1719-4874-8DC8-993B5126D4B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B6A32FA1-C409-414A-998E-0E4D677330A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589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84671D-3CD7-4145-93DF-F1FD1A542F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FDFD35D-845F-43DC-9309-A887B3BC03CF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A660EAAB-6F30-4534-AFC7-CF0120F393A3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B447F35-E983-4A41-91A6-451863DB764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4F68940-F1D3-4A67-B3EC-FF35F5E61901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4373A50-842E-4AAB-BBDF-13F322E346A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77127FB-63BE-4AEB-BE46-2395EBD33F6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48C93607-9C16-424E-B977-126FDC1BEE8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073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93703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F86E227-4756-49D6-8362-05AC4B2B2A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0C0FF5C-135D-4AC8-A472-E8D30B4F60E6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602FEDDE-375D-412A-A602-FBAB36342478}"/>
              </a:ext>
            </a:extLst>
          </p:cNvPr>
          <p:cNvSpPr txBox="1">
            <a:spLocks/>
          </p:cNvSpPr>
          <p:nvPr userDrawn="1"/>
        </p:nvSpPr>
        <p:spPr>
          <a:xfrm>
            <a:off x="5896942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C755EBC5-58FC-473F-AE30-B302CC531A4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9F47A8E-CCCE-4C6D-9DB4-A3954C5C4A9C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8E6C8A7-3305-4B5E-8713-E0ECF1CDFD1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33C194B-5D4B-417E-9220-9317A40FAC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82C9D218-5E48-418F-9CA8-E305EDE0FF8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935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6967728" cy="384721"/>
          </a:xfrm>
        </p:spPr>
        <p:txBody>
          <a:bodyPr wrap="square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74439D-7436-4EC9-8DF1-012C1A9980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61B933-E235-42A7-9AFB-295AF4B74B64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16980360-9047-4AF5-BEAA-CAF134F6A9D3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FC8979B-8968-413F-96C9-C077763178D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1AE8E62-2625-499B-B4FD-9F3FAEAB34AA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1792DBB-D6C7-49D5-82E5-253771171EB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337A9A1-1395-4D24-96E8-AC18F249514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E672C04-B919-412B-8BE1-3AE7CA96E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23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93703"/>
            <a:ext cx="7918704" cy="384721"/>
          </a:xfrm>
        </p:spPr>
        <p:txBody>
          <a:bodyPr wrap="square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1336CF-6886-4100-A571-66AE341E13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B4CE050-4DB9-4E30-BD63-383C37CB0126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86BDD070-496F-4689-9162-2D78C5D4BE73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bg2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9FA36345-2F5B-4132-9ABF-C8EF918E293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5B5BC3B-3EDC-4E0E-805E-E7DEA114C30E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5194505-DD84-4917-B34F-B1AC769D380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F965E46-E52A-4C3D-A711-80048E9508D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3" name="5. Source" hidden="1">
            <a:extLst>
              <a:ext uri="{FF2B5EF4-FFF2-40B4-BE49-F238E27FC236}">
                <a16:creationId xmlns:a16="http://schemas.microsoft.com/office/drawing/2014/main" id="{EE3E4F21-A9F3-493D-84E8-98ADCC9B626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97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BD0D4EC5-A1C8-47BD-9463-52F079FE91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10590784" cy="384721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73315A-1530-47FA-A599-6122950449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DFA87A1-E6CE-4CF3-8846-C5F0EFD1EA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45FBB07-BFEC-45EF-87B4-077EB61CB77D}"/>
              </a:ext>
            </a:extLst>
          </p:cNvPr>
          <p:cNvGrpSpPr/>
          <p:nvPr userDrawn="1"/>
        </p:nvGrpSpPr>
        <p:grpSpPr>
          <a:xfrm>
            <a:off x="554736" y="6586304"/>
            <a:ext cx="1669586" cy="261606"/>
            <a:chOff x="264321" y="6586304"/>
            <a:chExt cx="1669586" cy="261606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74A4E8D-C598-417A-8140-36890330132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264321" y="6600934"/>
              <a:ext cx="893483" cy="200905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B25155A-0CA5-4C4B-A4DB-343DFFADFF77}"/>
                </a:ext>
              </a:extLst>
            </p:cNvPr>
            <p:cNvSpPr txBox="1"/>
            <p:nvPr userDrawn="1"/>
          </p:nvSpPr>
          <p:spPr>
            <a:xfrm>
              <a:off x="1043932" y="6586304"/>
              <a:ext cx="889975" cy="261606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r>
                <a:rPr lang="en-US" sz="1100" b="1" spc="400" dirty="0">
                  <a:solidFill>
                    <a:srgbClr val="78B9E7"/>
                  </a:solidFill>
                  <a:latin typeface="Arial" panose="020B0604020202020204" pitchFamily="34" charset="0"/>
                  <a:sym typeface="Arial" panose="020B0604020202020204" pitchFamily="34" charset="0"/>
                </a:rPr>
                <a:t>CHINA</a:t>
              </a:r>
            </a:p>
          </p:txBody>
        </p:sp>
      </p:grpSp>
      <p:sp>
        <p:nvSpPr>
          <p:cNvPr id="16" name="object 33">
            <a:extLst>
              <a:ext uri="{FF2B5EF4-FFF2-40B4-BE49-F238E27FC236}">
                <a16:creationId xmlns:a16="http://schemas.microsoft.com/office/drawing/2014/main" id="{37C923A3-D230-407D-9C89-BA0E538C827F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BFE56264-3413-45B6-BBBA-A02722B8A88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69596511-6F8A-4C1F-B1B0-DCA920868A7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12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DE74C0-583A-4DFD-B60B-D16776847A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AB053DB1-6D3A-45F1-963B-4A7563AC82D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D1F0048A-7365-4E38-9285-9737B4D81BC5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>
                <a:solidFill>
                  <a:schemeClr val="accent6"/>
                </a:solidFill>
              </a:rPr>
              <a:t>McKinsey &amp; Company</a:t>
            </a:r>
            <a:endParaRPr lang="en-US" sz="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187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AB9239-77AA-4E5B-AAA4-2E903439B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A38788B1-5D97-4F92-9A20-68E09F4B9623}"/>
              </a:ext>
            </a:extLst>
          </p:cNvPr>
          <p:cNvGrpSpPr/>
          <p:nvPr userDrawn="1"/>
        </p:nvGrpSpPr>
        <p:grpSpPr>
          <a:xfrm>
            <a:off x="554736" y="6586304"/>
            <a:ext cx="1669586" cy="261606"/>
            <a:chOff x="264321" y="6586304"/>
            <a:chExt cx="1669586" cy="26160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696601F-A906-4D0D-94BF-F1D3AEC3B8C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264321" y="6600934"/>
              <a:ext cx="893483" cy="200905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EFE648-2D56-4048-9733-F31DA84B1B83}"/>
                </a:ext>
              </a:extLst>
            </p:cNvPr>
            <p:cNvSpPr txBox="1"/>
            <p:nvPr userDrawn="1"/>
          </p:nvSpPr>
          <p:spPr>
            <a:xfrm>
              <a:off x="1043932" y="6586304"/>
              <a:ext cx="889975" cy="261606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r>
                <a:rPr lang="en-US" sz="1100" b="1" spc="400" dirty="0">
                  <a:solidFill>
                    <a:schemeClr val="tx1"/>
                  </a:solidFill>
                  <a:latin typeface="Arial" panose="020B0604020202020204" pitchFamily="34" charset="0"/>
                  <a:sym typeface="Arial" panose="020B0604020202020204" pitchFamily="34" charset="0"/>
                </a:rPr>
                <a:t>CHINA</a:t>
              </a:r>
            </a:p>
          </p:txBody>
        </p:sp>
      </p:grpSp>
      <p:sp>
        <p:nvSpPr>
          <p:cNvPr id="12" name="object 33">
            <a:extLst>
              <a:ext uri="{FF2B5EF4-FFF2-40B4-BE49-F238E27FC236}">
                <a16:creationId xmlns:a16="http://schemas.microsoft.com/office/drawing/2014/main" id="{FF84D068-CFE9-4A99-9E1B-3158D15C05CE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06ABCDB-D158-4A08-B0D5-414020ADED0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9359AA87-5DD8-4C57-9A08-B862D2080D9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99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B21ABA8-697C-4E79-B6E8-2BF0022EC1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5328213" y="2648883"/>
            <a:ext cx="1535574" cy="1560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490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777686" y="5354508"/>
            <a:ext cx="614148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778828" y="3957755"/>
            <a:ext cx="614148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778827" y="2408967"/>
            <a:ext cx="614148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1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27D32B-16C8-4D43-BEAA-5B3173B67CFA}"/>
              </a:ext>
            </a:extLst>
          </p:cNvPr>
          <p:cNvSpPr/>
          <p:nvPr userDrawn="1"/>
        </p:nvSpPr>
        <p:spPr bwMode="ltGray">
          <a:xfrm>
            <a:off x="2409444" y="-10601"/>
            <a:ext cx="804672" cy="6868601"/>
          </a:xfrm>
          <a:prstGeom prst="rect">
            <a:avLst/>
          </a:prstGeom>
          <a:solidFill>
            <a:srgbClr val="76C04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8C08B1-36D6-4960-9EEC-C863C4668DAE}"/>
              </a:ext>
            </a:extLst>
          </p:cNvPr>
          <p:cNvSpPr/>
          <p:nvPr userDrawn="1"/>
        </p:nvSpPr>
        <p:spPr bwMode="ltGray">
          <a:xfrm>
            <a:off x="1" y="-10601"/>
            <a:ext cx="800100" cy="6876288"/>
          </a:xfrm>
          <a:prstGeom prst="rect">
            <a:avLst/>
          </a:prstGeom>
          <a:solidFill>
            <a:srgbClr val="1A75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AE2E98-CB03-410B-94A8-E16284C0DEE5}"/>
              </a:ext>
            </a:extLst>
          </p:cNvPr>
          <p:cNvSpPr/>
          <p:nvPr userDrawn="1"/>
        </p:nvSpPr>
        <p:spPr bwMode="ltGray">
          <a:xfrm>
            <a:off x="800100" y="-10601"/>
            <a:ext cx="804672" cy="686860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62DCCF-D32A-464C-80B9-B23D2C098E59}"/>
              </a:ext>
            </a:extLst>
          </p:cNvPr>
          <p:cNvSpPr/>
          <p:nvPr userDrawn="1"/>
        </p:nvSpPr>
        <p:spPr bwMode="ltGray">
          <a:xfrm>
            <a:off x="1604772" y="-10601"/>
            <a:ext cx="804672" cy="6868601"/>
          </a:xfrm>
          <a:prstGeom prst="rect">
            <a:avLst/>
          </a:prstGeom>
          <a:solidFill>
            <a:srgbClr val="F47B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9EABC4FC-E459-4956-B12A-FE35C7D2446E}"/>
              </a:ext>
            </a:extLst>
          </p:cNvPr>
          <p:cNvSpPr/>
          <p:nvPr userDrawn="1"/>
        </p:nvSpPr>
        <p:spPr bwMode="ltGray">
          <a:xfrm>
            <a:off x="2409444" y="-10601"/>
            <a:ext cx="804672" cy="6868601"/>
          </a:xfrm>
          <a:prstGeom prst="rect">
            <a:avLst/>
          </a:prstGeom>
          <a:solidFill>
            <a:srgbClr val="76C04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7F5082CA-DD21-43C1-84BD-EFA916034D8C}"/>
              </a:ext>
            </a:extLst>
          </p:cNvPr>
          <p:cNvSpPr/>
          <p:nvPr userDrawn="1"/>
        </p:nvSpPr>
        <p:spPr bwMode="ltGray">
          <a:xfrm>
            <a:off x="1" y="-10601"/>
            <a:ext cx="800100" cy="6876288"/>
          </a:xfrm>
          <a:prstGeom prst="rect">
            <a:avLst/>
          </a:prstGeom>
          <a:solidFill>
            <a:srgbClr val="1A75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28735710-4C4C-46A3-9FAD-F868B5C913C3}"/>
              </a:ext>
            </a:extLst>
          </p:cNvPr>
          <p:cNvSpPr/>
          <p:nvPr userDrawn="1"/>
        </p:nvSpPr>
        <p:spPr bwMode="ltGray">
          <a:xfrm>
            <a:off x="800100" y="-10601"/>
            <a:ext cx="804672" cy="686860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15" name="Rectangle 10">
            <a:extLst>
              <a:ext uri="{FF2B5EF4-FFF2-40B4-BE49-F238E27FC236}">
                <a16:creationId xmlns:a16="http://schemas.microsoft.com/office/drawing/2014/main" id="{D01867E3-5718-4C5F-9D29-C7364067F536}"/>
              </a:ext>
            </a:extLst>
          </p:cNvPr>
          <p:cNvSpPr/>
          <p:nvPr userDrawn="1"/>
        </p:nvSpPr>
        <p:spPr bwMode="ltGray">
          <a:xfrm>
            <a:off x="1604772" y="-10601"/>
            <a:ext cx="804672" cy="6868601"/>
          </a:xfrm>
          <a:prstGeom prst="rect">
            <a:avLst/>
          </a:prstGeom>
          <a:solidFill>
            <a:srgbClr val="F47B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76D2F5C-7154-4505-B085-3C758D8530F8}"/>
              </a:ext>
            </a:extLst>
          </p:cNvPr>
          <p:cNvSpPr/>
          <p:nvPr userDrawn="1"/>
        </p:nvSpPr>
        <p:spPr bwMode="ltGray">
          <a:xfrm>
            <a:off x="2396744" y="-10601"/>
            <a:ext cx="804672" cy="6868601"/>
          </a:xfrm>
          <a:prstGeom prst="rect">
            <a:avLst/>
          </a:prstGeom>
          <a:solidFill>
            <a:srgbClr val="76C04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384F921-7225-4454-B5C1-E3C89D2FD7F0}"/>
              </a:ext>
            </a:extLst>
          </p:cNvPr>
          <p:cNvSpPr/>
          <p:nvPr userDrawn="1"/>
        </p:nvSpPr>
        <p:spPr bwMode="ltGray">
          <a:xfrm>
            <a:off x="-12699" y="-10601"/>
            <a:ext cx="800100" cy="6876288"/>
          </a:xfrm>
          <a:prstGeom prst="rect">
            <a:avLst/>
          </a:prstGeom>
          <a:solidFill>
            <a:srgbClr val="1A75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DAEA5CF-817A-4571-9DC1-5EDC1F526005}"/>
              </a:ext>
            </a:extLst>
          </p:cNvPr>
          <p:cNvSpPr/>
          <p:nvPr userDrawn="1"/>
        </p:nvSpPr>
        <p:spPr bwMode="ltGray">
          <a:xfrm>
            <a:off x="787400" y="-10601"/>
            <a:ext cx="804672" cy="6868601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DF2394-5DDE-45FD-A48B-992A5C1DC8B4}"/>
              </a:ext>
            </a:extLst>
          </p:cNvPr>
          <p:cNvSpPr/>
          <p:nvPr userDrawn="1"/>
        </p:nvSpPr>
        <p:spPr bwMode="ltGray">
          <a:xfrm>
            <a:off x="1592072" y="-10601"/>
            <a:ext cx="804672" cy="6868601"/>
          </a:xfrm>
          <a:prstGeom prst="rect">
            <a:avLst/>
          </a:prstGeom>
          <a:solidFill>
            <a:srgbClr val="F47B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176" dirty="0">
              <a:solidFill>
                <a:srgbClr val="FFC000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06C3873-83D3-4EC8-AAD3-218D10151C05}"/>
              </a:ext>
            </a:extLst>
          </p:cNvPr>
          <p:cNvGrpSpPr/>
          <p:nvPr userDrawn="1"/>
        </p:nvGrpSpPr>
        <p:grpSpPr bwMode="ltGray">
          <a:xfrm>
            <a:off x="1271688" y="2116866"/>
            <a:ext cx="2645221" cy="2637045"/>
            <a:chOff x="1608301" y="1733341"/>
            <a:chExt cx="1642341" cy="1637265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2D6ABA4-E3F8-48A3-8868-345D5750BCE3}"/>
                </a:ext>
              </a:extLst>
            </p:cNvPr>
            <p:cNvGrpSpPr/>
            <p:nvPr/>
          </p:nvGrpSpPr>
          <p:grpSpPr bwMode="ltGray">
            <a:xfrm>
              <a:off x="1608301" y="1733341"/>
              <a:ext cx="1642341" cy="1637265"/>
              <a:chOff x="-5789608" y="-37652"/>
              <a:chExt cx="1642341" cy="1637265"/>
            </a:xfrm>
            <a:solidFill>
              <a:schemeClr val="bg1"/>
            </a:solidFill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E9B6E5B2-3F54-4049-BAFA-C2B7FD7DDEB9}"/>
                  </a:ext>
                </a:extLst>
              </p:cNvPr>
              <p:cNvSpPr/>
              <p:nvPr/>
            </p:nvSpPr>
            <p:spPr bwMode="ltGray">
              <a:xfrm>
                <a:off x="-5789608" y="-37652"/>
                <a:ext cx="1642341" cy="1637265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55"/>
                <a:endParaRPr lang="en-US" sz="217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BB0883F0-9267-49D8-ABC8-DCC2A4DF97C3}"/>
                  </a:ext>
                </a:extLst>
              </p:cNvPr>
              <p:cNvSpPr/>
              <p:nvPr/>
            </p:nvSpPr>
            <p:spPr bwMode="ltGray">
              <a:xfrm>
                <a:off x="-5647613" y="106345"/>
                <a:ext cx="1358350" cy="1358350"/>
              </a:xfrm>
              <a:prstGeom prst="ellipse">
                <a:avLst/>
              </a:prstGeom>
              <a:grpFill/>
              <a:ln w="76200">
                <a:solidFill>
                  <a:srgbClr val="0070C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9555"/>
                <a:endParaRPr lang="en-US" sz="2176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E0BCD72D-4D4A-4EEF-80AF-7329D776504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2035920" y="2111017"/>
              <a:ext cx="787102" cy="881912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A51DC175-7C03-470A-A734-E161D430740A}"/>
              </a:ext>
            </a:extLst>
          </p:cNvPr>
          <p:cNvSpPr>
            <a:spLocks/>
          </p:cNvSpPr>
          <p:nvPr userDrawn="1"/>
        </p:nvSpPr>
        <p:spPr bwMode="ltGray">
          <a:xfrm>
            <a:off x="4778828" y="3836159"/>
            <a:ext cx="6212115" cy="60959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09555"/>
            <a:endParaRPr lang="en-US" sz="2176" dirty="0">
              <a:solidFill>
                <a:srgbClr val="FFFFFF"/>
              </a:solidFill>
            </a:endParaRPr>
          </a:p>
        </p:txBody>
      </p:sp>
      <p:sp>
        <p:nvSpPr>
          <p:cNvPr id="3" name="SlideLogoText" hidden="1">
            <a:extLst>
              <a:ext uri="{FF2B5EF4-FFF2-40B4-BE49-F238E27FC236}">
                <a16:creationId xmlns:a16="http://schemas.microsoft.com/office/drawing/2014/main" id="{CF1C9DBA-A481-4401-8BF1-C2CB8329CA97}"/>
              </a:ext>
            </a:extLst>
          </p:cNvPr>
          <p:cNvSpPr txBox="1"/>
          <p:nvPr userDrawn="1"/>
        </p:nvSpPr>
        <p:spPr>
          <a:xfrm>
            <a:off x="10524852" y="6645989"/>
            <a:ext cx="101309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>
                <a:solidFill>
                  <a:schemeClr val="accent6"/>
                </a:solidFill>
              </a:rPr>
              <a:t>McKinsey &amp; Company</a:t>
            </a:r>
            <a:endParaRPr lang="en-US" sz="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6140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6036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10616589" cy="38472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571326"/>
            <a:ext cx="1061658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5429862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9112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632066"/>
            <a:ext cx="38130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453525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3822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429000"/>
            <a:ext cx="50657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916231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368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2855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899396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57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4728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798141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88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5F0F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5212CF4-3A7A-4FE0-8C62-2D9DD8E4B6C2}"/>
              </a:ext>
            </a:extLst>
          </p:cNvPr>
          <p:cNvGrpSpPr/>
          <p:nvPr userDrawn="1"/>
        </p:nvGrpSpPr>
        <p:grpSpPr bwMode="ltGray">
          <a:xfrm>
            <a:off x="11376177" y="-65554"/>
            <a:ext cx="609448" cy="758751"/>
            <a:chOff x="8383665" y="-76199"/>
            <a:chExt cx="605554" cy="75390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FC54F91-4834-43AF-BE71-EE158642138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4C8C820-12CE-4C70-A94A-249DB67087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AFD4F106-03A5-41E0-BB0A-B23DA134D52C}"/>
              </a:ext>
            </a:extLst>
          </p:cNvPr>
          <p:cNvSpPr txBox="1"/>
          <p:nvPr userDrawn="1"/>
        </p:nvSpPr>
        <p:spPr>
          <a:xfrm>
            <a:off x="11049471" y="6665944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272831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261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5F0F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2876B07-E2A0-42BC-BA94-3E81B6F4BDE7}"/>
              </a:ext>
            </a:extLst>
          </p:cNvPr>
          <p:cNvGrpSpPr/>
          <p:nvPr userDrawn="1"/>
        </p:nvGrpSpPr>
        <p:grpSpPr bwMode="ltGray">
          <a:xfrm>
            <a:off x="11376177" y="-65554"/>
            <a:ext cx="609448" cy="758751"/>
            <a:chOff x="8383665" y="-76199"/>
            <a:chExt cx="605554" cy="75390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D6DA07B-4E0D-4857-8443-CEFB7F3D726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44431A5-44FE-46D2-94E9-81F63FED4E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8ACA01A-A8B3-41A1-A4EC-F418244ABB02}"/>
              </a:ext>
            </a:extLst>
          </p:cNvPr>
          <p:cNvSpPr txBox="1"/>
          <p:nvPr userDrawn="1"/>
        </p:nvSpPr>
        <p:spPr>
          <a:xfrm>
            <a:off x="11049471" y="6665944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789844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7392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67586E6-F2AE-4FC1-BA7F-523A45B15F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4B93DB5-2A62-4AC6-B3C2-D804897AD90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9594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5F0F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1326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E100793-0BBE-4D65-BF5E-98DD7011B96D}"/>
              </a:ext>
            </a:extLst>
          </p:cNvPr>
          <p:cNvGrpSpPr/>
          <p:nvPr userDrawn="1"/>
        </p:nvGrpSpPr>
        <p:grpSpPr bwMode="ltGray">
          <a:xfrm>
            <a:off x="11376177" y="-65554"/>
            <a:ext cx="609448" cy="758751"/>
            <a:chOff x="8383665" y="-76199"/>
            <a:chExt cx="605554" cy="75390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0ED4FD3-4C56-4114-91DB-E041B6FA6DB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45EE73B-54EC-43F6-B998-E3902090D35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0D965176-B665-4B1F-9C0E-ADE089AB4507}"/>
              </a:ext>
            </a:extLst>
          </p:cNvPr>
          <p:cNvSpPr txBox="1"/>
          <p:nvPr userDrawn="1"/>
        </p:nvSpPr>
        <p:spPr>
          <a:xfrm>
            <a:off x="11049471" y="6665944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703196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948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5F0F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1326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AB8CA23-7007-46DB-8C84-79388C149ADB}"/>
              </a:ext>
            </a:extLst>
          </p:cNvPr>
          <p:cNvGrpSpPr/>
          <p:nvPr userDrawn="1"/>
        </p:nvGrpSpPr>
        <p:grpSpPr bwMode="ltGray">
          <a:xfrm>
            <a:off x="11376177" y="-65554"/>
            <a:ext cx="609448" cy="758751"/>
            <a:chOff x="8383665" y="-76199"/>
            <a:chExt cx="605554" cy="75390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0F1D0AF-26FB-4855-BEDA-609C9B94CD5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A0138C3-4588-4A22-B05A-A5071949A4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B037D41-DC81-47DB-B968-427B4868221C}"/>
              </a:ext>
            </a:extLst>
          </p:cNvPr>
          <p:cNvSpPr txBox="1"/>
          <p:nvPr userDrawn="1"/>
        </p:nvSpPr>
        <p:spPr>
          <a:xfrm>
            <a:off x="11049471" y="6665944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811302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05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5F0FB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noProof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noProof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71326"/>
            <a:ext cx="79187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727637-E509-4507-B085-7B6235881706}"/>
              </a:ext>
            </a:extLst>
          </p:cNvPr>
          <p:cNvGrpSpPr/>
          <p:nvPr userDrawn="1"/>
        </p:nvGrpSpPr>
        <p:grpSpPr bwMode="ltGray">
          <a:xfrm>
            <a:off x="11376177" y="-65554"/>
            <a:ext cx="609448" cy="758751"/>
            <a:chOff x="8383665" y="-76199"/>
            <a:chExt cx="605554" cy="75390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0E14F50-842F-408F-939D-A237C39F18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E6A3EB1-8A03-4907-B223-BD539D02B2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9FB532B5-F163-4CCC-A4CD-C3F511707F0F}"/>
              </a:ext>
            </a:extLst>
          </p:cNvPr>
          <p:cNvSpPr txBox="1"/>
          <p:nvPr userDrawn="1"/>
        </p:nvSpPr>
        <p:spPr>
          <a:xfrm>
            <a:off x="11049471" y="6665944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343148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144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5171"/>
            <a:ext cx="10616589" cy="38472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DE14C04-DC7D-49C5-846B-D1E9F6327B65}"/>
              </a:ext>
            </a:extLst>
          </p:cNvPr>
          <p:cNvGrpSpPr/>
          <p:nvPr userDrawn="1"/>
        </p:nvGrpSpPr>
        <p:grpSpPr bwMode="ltGray">
          <a:xfrm>
            <a:off x="11376177" y="-65554"/>
            <a:ext cx="609448" cy="758751"/>
            <a:chOff x="8383665" y="-76199"/>
            <a:chExt cx="605554" cy="75390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EE848F0-EDED-42DD-AA6B-5163F167694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260D102-B83D-4D88-AE7D-1081EC184A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F14FBE1-2671-4DAD-B0EF-FDCC17AE9262}"/>
              </a:ext>
            </a:extLst>
          </p:cNvPr>
          <p:cNvSpPr txBox="1"/>
          <p:nvPr userDrawn="1"/>
        </p:nvSpPr>
        <p:spPr>
          <a:xfrm>
            <a:off x="11049471" y="6665944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3432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556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660124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r" defTabSz="610744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cs typeface="Arial" panose="020B0604020202020204" pitchFamily="34" charset="0"/>
              </a:rPr>
              <a:pPr lvl="0" algn="r" defTabSz="61074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900" b="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0B6644C-EF0B-4C50-AED5-A40C60245BE1}"/>
              </a:ext>
            </a:extLst>
          </p:cNvPr>
          <p:cNvGrpSpPr/>
          <p:nvPr userDrawn="1"/>
        </p:nvGrpSpPr>
        <p:grpSpPr bwMode="ltGray">
          <a:xfrm>
            <a:off x="11376177" y="-65554"/>
            <a:ext cx="609448" cy="758751"/>
            <a:chOff x="8383665" y="-76199"/>
            <a:chExt cx="605554" cy="75390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CD1B962-5794-42E4-AFAD-A825E97114B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6C02CDA-ED1F-4CC6-91F4-7BDB40168A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39960698-C066-45C9-9773-ACA1BF961BFA}"/>
              </a:ext>
            </a:extLst>
          </p:cNvPr>
          <p:cNvSpPr txBox="1"/>
          <p:nvPr userDrawn="1"/>
        </p:nvSpPr>
        <p:spPr>
          <a:xfrm>
            <a:off x="11049471" y="6665944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292392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02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D27EB08-A88D-4634-94E9-3C6774EC8B22}"/>
              </a:ext>
            </a:extLst>
          </p:cNvPr>
          <p:cNvGrpSpPr/>
          <p:nvPr userDrawn="1"/>
        </p:nvGrpSpPr>
        <p:grpSpPr bwMode="ltGray">
          <a:xfrm>
            <a:off x="5428129" y="2597513"/>
            <a:ext cx="1335742" cy="1662976"/>
            <a:chOff x="8383665" y="-76199"/>
            <a:chExt cx="605554" cy="75390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3E266F7-8947-41FF-8B95-7BA96385FC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8517335-7A14-41BE-8CFC-B14E89304D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55633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 Lo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5. Source">
            <a:extLst>
              <a:ext uri="{FF2B5EF4-FFF2-40B4-BE49-F238E27FC236}">
                <a16:creationId xmlns:a16="http://schemas.microsoft.com/office/drawing/2014/main" id="{5F6EEE27-73BD-4D88-A7CA-05BFA7501A18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: ...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82296"/>
            <a:ext cx="4480560" cy="13716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9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728049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218144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ustomTitl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2192001" cy="6858003"/>
          </a:xfrm>
          <a:prstGeom prst="rect">
            <a:avLst/>
          </a:prstGeom>
        </p:spPr>
      </p:pic>
      <p:sp>
        <p:nvSpPr>
          <p:cNvPr id="16" name="TitleRectangle"/>
          <p:cNvSpPr txBox="1">
            <a:spLocks/>
          </p:cNvSpPr>
          <p:nvPr/>
        </p:nvSpPr>
        <p:spPr>
          <a:xfrm>
            <a:off x="2835801" y="0"/>
            <a:ext cx="9354038" cy="3648610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fr-FR" sz="3265" baseline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fr-FR" sz="3265" baseline="0">
                <a:solidFill>
                  <a:srgbClr val="00ADEF"/>
                </a:solidFill>
                <a:latin typeface="+mn-lt"/>
              </a:rPr>
            </a:br>
            <a:endParaRPr lang="fr-FR" sz="3265" baseline="0" dirty="0">
              <a:solidFill>
                <a:srgbClr val="00ADEF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fr-FR" sz="816" b="1" baseline="0">
                <a:solidFill>
                  <a:srgbClr val="FFFFFF"/>
                </a:solidFill>
                <a:latin typeface="+mn-lt"/>
              </a:rPr>
              <a:t>WORKING DRAFT</a:t>
            </a:r>
            <a:endParaRPr lang="fr-FR" sz="816" b="1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6/18/2021 1：34 PM China Standard Time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05/02/2018 22：51 Romance Standard Time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x-none"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fr-FR" noProof="0"/>
              <a:t>Click to edit Master title style</a:t>
            </a:r>
            <a:endParaRPr lang="fr-FR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fr-FR" noProof="0"/>
              <a:t>Click to edit Master subtitle style</a:t>
            </a:r>
            <a:endParaRPr lang="fr-FR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fr-FR" sz="1428" baseline="0">
                <a:solidFill>
                  <a:schemeClr val="accent6"/>
                </a:solidFill>
                <a:latin typeface="+mn-lt"/>
              </a:rPr>
              <a:t>Document type </a:t>
            </a:r>
            <a:r>
              <a:rPr lang="fr-FR" sz="1428" baseline="0" dirty="0">
                <a:solidFill>
                  <a:schemeClr val="accent6"/>
                </a:solidFill>
                <a:latin typeface="+mn-lt"/>
              </a:rPr>
              <a:t>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fr-FR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</a:t>
            </a:r>
            <a:r>
              <a:rPr lang="en-US" sz="816" baseline="0">
                <a:solidFill>
                  <a:srgbClr val="FFFFFF"/>
                </a:solidFill>
                <a:latin typeface="+mn-lt"/>
              </a:rPr>
              <a:t>without specific permission </a:t>
            </a: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is strictly prohibited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7" name="Rectangle 16"/>
          <p:cNvSpPr/>
          <p:nvPr/>
        </p:nvSpPr>
        <p:spPr>
          <a:xfrm rot="5400000">
            <a:off x="8885738" y="3221372"/>
            <a:ext cx="6499845" cy="202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714" dirty="0">
                <a:solidFill>
                  <a:srgbClr val="808080"/>
                </a:solidFill>
                <a:latin typeface="+mn-lt"/>
              </a:rPr>
              <a:t>Document préliminaire de discussion qui n'a pas de valeur avant d'avoir été présenté aux instances de représentation </a:t>
            </a:r>
            <a:r>
              <a:rPr lang="fr-FR" sz="714">
                <a:solidFill>
                  <a:srgbClr val="808080"/>
                </a:solidFill>
                <a:latin typeface="+mn-lt"/>
              </a:rPr>
              <a:t>du personnel</a:t>
            </a:r>
            <a:endParaRPr lang="fr-FR" sz="714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20845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625082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fr-FR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fr-FR" sz="816" baseline="0">
                <a:solidFill>
                  <a:srgbClr val="808080"/>
                </a:solidFill>
                <a:latin typeface="+mn-lt"/>
              </a:rPr>
              <a:t>McKinsey &amp; Company</a:t>
            </a:r>
            <a:endParaRPr lang="fr-FR" sz="816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C1FB0C-4217-4010-AA5C-319ABB0B29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88139" y="60479"/>
            <a:ext cx="1089971" cy="348770"/>
          </a:xfrm>
          <a:prstGeom prst="roundRect">
            <a:avLst>
              <a:gd name="adj" fmla="val 8594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0A495703-5764-4030-BF48-8292997033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69418" y="454917"/>
            <a:ext cx="1127410" cy="348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24315EB-F505-41B0-9642-3237679739B1}"/>
              </a:ext>
            </a:extLst>
          </p:cNvPr>
          <p:cNvSpPr/>
          <p:nvPr userDrawn="1"/>
        </p:nvSpPr>
        <p:spPr>
          <a:xfrm rot="5400000">
            <a:off x="8816459" y="3229224"/>
            <a:ext cx="6499845" cy="18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12" kern="1200" dirty="0">
                <a:solidFill>
                  <a:schemeClr val="accent6"/>
                </a:solidFill>
                <a:effectLst/>
                <a:latin typeface="Arial" charset="0"/>
                <a:ea typeface="+mn-ea"/>
                <a:cs typeface="+mn-cs"/>
              </a:rPr>
              <a:t>Document de travail, sous réserve de validation par le Comité Exécutif et de présentation aux instances représentatives du personnel </a:t>
            </a:r>
            <a:endParaRPr lang="fr-FR" sz="102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6276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8659234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fr-FR" sz="816" baseline="0">
                <a:solidFill>
                  <a:srgbClr val="FFFFFF"/>
                </a:solidFill>
                <a:latin typeface="+mn-lt"/>
              </a:rPr>
              <a:t>McKinsey &amp; Company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/>
            <a:endParaRPr lang="fr-FR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7770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87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3CC332-7C5A-4085-B8B7-3F586FFBF6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504C9685-AF92-4E70-8919-BA93F2FD016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273396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3691376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lum bright="2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12"/>
            <a:ext cx="12192000" cy="6852988"/>
          </a:xfrm>
          <a:prstGeom prst="rect">
            <a:avLst/>
          </a:prstGeom>
        </p:spPr>
      </p:pic>
      <p:sp>
        <p:nvSpPr>
          <p:cNvPr id="11" name="TitleRectangle"/>
          <p:cNvSpPr txBox="1">
            <a:spLocks/>
          </p:cNvSpPr>
          <p:nvPr/>
        </p:nvSpPr>
        <p:spPr>
          <a:xfrm>
            <a:off x="2835801" y="0"/>
            <a:ext cx="9354038" cy="3648610"/>
          </a:xfrm>
          <a:prstGeom prst="rect">
            <a:avLst/>
          </a:prstGeom>
          <a:solidFill>
            <a:srgbClr val="002960">
              <a:alpha val="78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defPPr>
              <a:defRPr lang="en-US"/>
            </a:defPPr>
            <a:lvl1pPr marL="0" indent="0" defTabSz="914400" eaLnBrk="1" fontAlgn="auto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baseline="0">
                <a:solidFill>
                  <a:srgbClr val="00ADEF"/>
                </a:solidFill>
                <a:latin typeface="+mn-lt"/>
              </a:defRPr>
            </a:lvl1pPr>
            <a:lvl2pPr marL="0" indent="0" defTabSz="914400" eaLnBrk="1" latinLnBrk="0" hangingPunct="1">
              <a:spcBef>
                <a:spcPct val="20000"/>
              </a:spcBef>
              <a:buFont typeface="Wingdings" charset="2"/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Lucida Grande"/>
              <a:buChar char="–"/>
              <a:defRPr>
                <a:latin typeface="+mn-lt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>
                <a:latin typeface="+mn-lt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/>
            <a:r>
              <a:rPr lang="fr-FR" sz="3265" dirty="0"/>
              <a:t>
    </a:t>
            </a:r>
            <a:br>
              <a:rPr lang="fr-FR" sz="3265" dirty="0"/>
            </a:br>
            <a:endParaRPr lang="fr-FR" sz="3265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85966" y="1374263"/>
            <a:ext cx="7374166" cy="45217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en-US" sz="3265" b="0" i="0" kern="1200" noProof="0" dirty="0" smtClean="0">
                <a:solidFill>
                  <a:schemeClr val="bg1"/>
                </a:solidFill>
                <a:latin typeface="Arial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fr-FR" noProof="0" dirty="0" err="1"/>
              <a:t>Presentation</a:t>
            </a:r>
            <a:r>
              <a:rPr lang="fr-FR" noProof="0" dirty="0"/>
              <a:t> </a:t>
            </a:r>
            <a:r>
              <a:rPr lang="fr-FR" noProof="0" dirty="0" err="1"/>
              <a:t>title</a:t>
            </a:r>
            <a:r>
              <a:rPr lang="fr-FR" noProof="0" dirty="0"/>
              <a:t> </a:t>
            </a:r>
            <a:r>
              <a:rPr lang="fr-FR" noProof="0" dirty="0" err="1"/>
              <a:t>goes</a:t>
            </a:r>
            <a:r>
              <a:rPr lang="fr-FR" noProof="0" dirty="0"/>
              <a:t> in </a:t>
            </a:r>
            <a:r>
              <a:rPr lang="fr-FR" noProof="0" dirty="0" err="1"/>
              <a:t>this</a:t>
            </a:r>
            <a:r>
              <a:rPr lang="fr-FR" noProof="0" dirty="0"/>
              <a:t> box </a:t>
            </a:r>
            <a:r>
              <a:rPr lang="fr-FR" noProof="0" dirty="0" err="1"/>
              <a:t>here</a:t>
            </a:r>
            <a:endParaRPr lang="fr-FR" noProof="0" dirty="0"/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85967" y="2876668"/>
            <a:ext cx="7349757" cy="219820"/>
          </a:xfrm>
        </p:spPr>
        <p:txBody>
          <a:bodyPr/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ent Name  |  Date</a:t>
            </a:r>
          </a:p>
        </p:txBody>
      </p:sp>
      <p:sp>
        <p:nvSpPr>
          <p:cNvPr id="27" name="Disclaimer-template_Blue"/>
          <p:cNvSpPr>
            <a:spLocks noChangeArrowheads="1"/>
          </p:cNvSpPr>
          <p:nvPr/>
        </p:nvSpPr>
        <p:spPr bwMode="auto">
          <a:xfrm>
            <a:off x="4193908" y="6521886"/>
            <a:ext cx="696747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endParaRPr lang="fr-FR" sz="816" dirty="0" err="1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1570873" name="Picture 1081" descr="Groupe Casino E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398" y="5839180"/>
            <a:ext cx="2190024" cy="806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Image" hidden="1"/>
          <p:cNvSpPr>
            <a:spLocks noEditPoints="1"/>
          </p:cNvSpPr>
          <p:nvPr/>
        </p:nvSpPr>
        <p:spPr bwMode="white">
          <a:xfrm>
            <a:off x="3087098" y="186641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fr-FR" sz="1632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7143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2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4206146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ustomTitl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2192001" cy="6858003"/>
          </a:xfrm>
          <a:prstGeom prst="rect">
            <a:avLst/>
          </a:prstGeom>
        </p:spPr>
      </p:pic>
      <p:sp>
        <p:nvSpPr>
          <p:cNvPr id="16" name="TitleRectangle"/>
          <p:cNvSpPr txBox="1">
            <a:spLocks/>
          </p:cNvSpPr>
          <p:nvPr/>
        </p:nvSpPr>
        <p:spPr>
          <a:xfrm>
            <a:off x="2835801" y="0"/>
            <a:ext cx="9354038" cy="3648610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fr-FR" sz="3265" baseline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fr-FR" sz="3265" baseline="0">
                <a:solidFill>
                  <a:srgbClr val="00ADEF"/>
                </a:solidFill>
                <a:latin typeface="+mn-lt"/>
              </a:rPr>
            </a:br>
            <a:endParaRPr lang="fr-FR" sz="3265" baseline="0" dirty="0">
              <a:solidFill>
                <a:srgbClr val="00ADEF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fr-FR" sz="816" b="1" baseline="0">
                <a:solidFill>
                  <a:srgbClr val="FFFFFF"/>
                </a:solidFill>
                <a:latin typeface="+mn-lt"/>
              </a:rPr>
              <a:t>WORKING DRAFT</a:t>
            </a:r>
            <a:endParaRPr lang="fr-FR" sz="816" b="1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6/18/2021 1：34 PM China Standard Time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05/02/2018 22：51 Romance Standard Time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x-none"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fr-FR" noProof="0"/>
              <a:t>Click to edit Master title style</a:t>
            </a:r>
            <a:endParaRPr lang="fr-FR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fr-FR" noProof="0"/>
              <a:t>Click to edit Master subtitle style</a:t>
            </a:r>
            <a:endParaRPr lang="fr-FR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fr-FR" sz="1428" baseline="0">
                <a:solidFill>
                  <a:schemeClr val="accent6"/>
                </a:solidFill>
                <a:latin typeface="+mn-lt"/>
              </a:rPr>
              <a:t>Document type </a:t>
            </a:r>
            <a:r>
              <a:rPr lang="fr-FR" sz="1428" baseline="0" dirty="0">
                <a:solidFill>
                  <a:schemeClr val="accent6"/>
                </a:solidFill>
                <a:latin typeface="+mn-lt"/>
              </a:rPr>
              <a:t>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fr-FR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</a:t>
            </a:r>
            <a:r>
              <a:rPr lang="en-US" sz="816" baseline="0">
                <a:solidFill>
                  <a:srgbClr val="FFFFFF"/>
                </a:solidFill>
                <a:latin typeface="+mn-lt"/>
              </a:rPr>
              <a:t>without specific permission </a:t>
            </a: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is strictly prohibited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7" name="Rectangle 16"/>
          <p:cNvSpPr/>
          <p:nvPr/>
        </p:nvSpPr>
        <p:spPr>
          <a:xfrm rot="5400000">
            <a:off x="8885738" y="3221372"/>
            <a:ext cx="6499845" cy="202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714" dirty="0">
                <a:solidFill>
                  <a:srgbClr val="808080"/>
                </a:solidFill>
                <a:latin typeface="+mn-lt"/>
              </a:rPr>
              <a:t>Document préliminaire de discussion qui n'a pas de valeur avant d'avoir été présenté aux instances de représentation </a:t>
            </a:r>
            <a:r>
              <a:rPr lang="fr-FR" sz="714">
                <a:solidFill>
                  <a:srgbClr val="808080"/>
                </a:solidFill>
                <a:latin typeface="+mn-lt"/>
              </a:rPr>
              <a:t>du personnel</a:t>
            </a:r>
            <a:endParaRPr lang="fr-FR" sz="714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458280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09395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fr-FR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fr-FR" sz="816" baseline="0">
                <a:solidFill>
                  <a:srgbClr val="808080"/>
                </a:solidFill>
                <a:latin typeface="+mn-lt"/>
              </a:rPr>
              <a:t>McKinsey &amp; Company</a:t>
            </a:r>
            <a:endParaRPr lang="fr-FR" sz="816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C1FB0C-4217-4010-AA5C-319ABB0B29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88139" y="60479"/>
            <a:ext cx="1089971" cy="348770"/>
          </a:xfrm>
          <a:prstGeom prst="roundRect">
            <a:avLst>
              <a:gd name="adj" fmla="val 8594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0A495703-5764-4030-BF48-8292997033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69418" y="454917"/>
            <a:ext cx="1127410" cy="348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24315EB-F505-41B0-9642-3237679739B1}"/>
              </a:ext>
            </a:extLst>
          </p:cNvPr>
          <p:cNvSpPr/>
          <p:nvPr userDrawn="1"/>
        </p:nvSpPr>
        <p:spPr>
          <a:xfrm rot="5400000">
            <a:off x="8816459" y="3229224"/>
            <a:ext cx="6499845" cy="18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12" kern="1200" dirty="0">
                <a:solidFill>
                  <a:schemeClr val="accent6"/>
                </a:solidFill>
                <a:effectLst/>
                <a:latin typeface="Arial" charset="0"/>
                <a:ea typeface="+mn-ea"/>
                <a:cs typeface="+mn-cs"/>
              </a:rPr>
              <a:t>Document de travail, sous réserve de validation par le Comité Exécutif et de présentation aux instances représentatives du personnel </a:t>
            </a:r>
            <a:endParaRPr lang="fr-FR" sz="102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0742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760619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fr-FR" sz="816" baseline="0">
                <a:solidFill>
                  <a:srgbClr val="FFFFFF"/>
                </a:solidFill>
                <a:latin typeface="+mn-lt"/>
              </a:rPr>
              <a:t>McKinsey &amp; Company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/>
            <a:endParaRPr lang="fr-FR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46065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594357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018401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lum bright="2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12"/>
            <a:ext cx="12192000" cy="6852988"/>
          </a:xfrm>
          <a:prstGeom prst="rect">
            <a:avLst/>
          </a:prstGeom>
        </p:spPr>
      </p:pic>
      <p:sp>
        <p:nvSpPr>
          <p:cNvPr id="11" name="TitleRectangle"/>
          <p:cNvSpPr txBox="1">
            <a:spLocks/>
          </p:cNvSpPr>
          <p:nvPr/>
        </p:nvSpPr>
        <p:spPr>
          <a:xfrm>
            <a:off x="2835801" y="0"/>
            <a:ext cx="9354038" cy="3648610"/>
          </a:xfrm>
          <a:prstGeom prst="rect">
            <a:avLst/>
          </a:prstGeom>
          <a:solidFill>
            <a:srgbClr val="002960">
              <a:alpha val="78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defPPr>
              <a:defRPr lang="en-US"/>
            </a:defPPr>
            <a:lvl1pPr marL="0" indent="0" defTabSz="914400" eaLnBrk="1" fontAlgn="auto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baseline="0">
                <a:solidFill>
                  <a:srgbClr val="00ADEF"/>
                </a:solidFill>
                <a:latin typeface="+mn-lt"/>
              </a:defRPr>
            </a:lvl1pPr>
            <a:lvl2pPr marL="0" indent="0" defTabSz="914400" eaLnBrk="1" latinLnBrk="0" hangingPunct="1">
              <a:spcBef>
                <a:spcPct val="20000"/>
              </a:spcBef>
              <a:buFont typeface="Wingdings" charset="2"/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Lucida Grande"/>
              <a:buChar char="–"/>
              <a:defRPr>
                <a:latin typeface="+mn-lt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>
                <a:latin typeface="+mn-lt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/>
            <a:r>
              <a:rPr lang="fr-FR" sz="3265" dirty="0"/>
              <a:t>
    </a:t>
            </a:r>
            <a:br>
              <a:rPr lang="fr-FR" sz="3265" dirty="0"/>
            </a:br>
            <a:endParaRPr lang="fr-FR" sz="3265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85966" y="1374263"/>
            <a:ext cx="7374166" cy="45217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en-US" sz="3265" b="0" i="0" kern="1200" noProof="0" dirty="0" smtClean="0">
                <a:solidFill>
                  <a:schemeClr val="bg1"/>
                </a:solidFill>
                <a:latin typeface="Arial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fr-FR" noProof="0" dirty="0" err="1"/>
              <a:t>Presentation</a:t>
            </a:r>
            <a:r>
              <a:rPr lang="fr-FR" noProof="0" dirty="0"/>
              <a:t> </a:t>
            </a:r>
            <a:r>
              <a:rPr lang="fr-FR" noProof="0" dirty="0" err="1"/>
              <a:t>title</a:t>
            </a:r>
            <a:r>
              <a:rPr lang="fr-FR" noProof="0" dirty="0"/>
              <a:t> </a:t>
            </a:r>
            <a:r>
              <a:rPr lang="fr-FR" noProof="0" dirty="0" err="1"/>
              <a:t>goes</a:t>
            </a:r>
            <a:r>
              <a:rPr lang="fr-FR" noProof="0" dirty="0"/>
              <a:t> in </a:t>
            </a:r>
            <a:r>
              <a:rPr lang="fr-FR" noProof="0" dirty="0" err="1"/>
              <a:t>this</a:t>
            </a:r>
            <a:r>
              <a:rPr lang="fr-FR" noProof="0" dirty="0"/>
              <a:t> box </a:t>
            </a:r>
            <a:r>
              <a:rPr lang="fr-FR" noProof="0" dirty="0" err="1"/>
              <a:t>here</a:t>
            </a:r>
            <a:endParaRPr lang="fr-FR" noProof="0" dirty="0"/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85967" y="2876668"/>
            <a:ext cx="7349757" cy="219820"/>
          </a:xfrm>
        </p:spPr>
        <p:txBody>
          <a:bodyPr/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ent Name  |  Date</a:t>
            </a:r>
          </a:p>
        </p:txBody>
      </p:sp>
      <p:sp>
        <p:nvSpPr>
          <p:cNvPr id="27" name="Disclaimer-template_Blue"/>
          <p:cNvSpPr>
            <a:spLocks noChangeArrowheads="1"/>
          </p:cNvSpPr>
          <p:nvPr/>
        </p:nvSpPr>
        <p:spPr bwMode="auto">
          <a:xfrm>
            <a:off x="4193908" y="6521886"/>
            <a:ext cx="696747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endParaRPr lang="fr-FR" sz="816" dirty="0" err="1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1570873" name="Picture 1081" descr="Groupe Casino E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398" y="5839180"/>
            <a:ext cx="2190024" cy="806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Image" hidden="1"/>
          <p:cNvSpPr>
            <a:spLocks noEditPoints="1"/>
          </p:cNvSpPr>
          <p:nvPr/>
        </p:nvSpPr>
        <p:spPr bwMode="white">
          <a:xfrm>
            <a:off x="3087098" y="186641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fr-FR" sz="1632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3489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2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147119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ustomTitl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2192001" cy="6858003"/>
          </a:xfrm>
          <a:prstGeom prst="rect">
            <a:avLst/>
          </a:prstGeom>
        </p:spPr>
      </p:pic>
      <p:sp>
        <p:nvSpPr>
          <p:cNvPr id="16" name="TitleRectangle"/>
          <p:cNvSpPr txBox="1">
            <a:spLocks/>
          </p:cNvSpPr>
          <p:nvPr/>
        </p:nvSpPr>
        <p:spPr>
          <a:xfrm>
            <a:off x="2835801" y="0"/>
            <a:ext cx="9354038" cy="3648610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fr-FR" sz="3265" baseline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fr-FR" sz="3265" baseline="0">
                <a:solidFill>
                  <a:srgbClr val="00ADEF"/>
                </a:solidFill>
                <a:latin typeface="+mn-lt"/>
              </a:rPr>
            </a:br>
            <a:endParaRPr lang="fr-FR" sz="3265" baseline="0" dirty="0">
              <a:solidFill>
                <a:srgbClr val="00ADEF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fr-FR" sz="816" b="1" baseline="0">
                <a:solidFill>
                  <a:srgbClr val="FFFFFF"/>
                </a:solidFill>
                <a:latin typeface="+mn-lt"/>
              </a:rPr>
              <a:t>WORKING DRAFT</a:t>
            </a:r>
            <a:endParaRPr lang="fr-FR" sz="816" b="1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6/18/2021 1：34 PM China Standard Time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05/02/2018 22：51 Romance Standard Time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x-none"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fr-FR" noProof="0"/>
              <a:t>Click to edit Master title style</a:t>
            </a:r>
            <a:endParaRPr lang="fr-FR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fr-FR" noProof="0"/>
              <a:t>Click to edit Master subtitle style</a:t>
            </a:r>
            <a:endParaRPr lang="fr-FR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fr-FR" sz="1428" baseline="0">
                <a:solidFill>
                  <a:schemeClr val="accent6"/>
                </a:solidFill>
                <a:latin typeface="+mn-lt"/>
              </a:rPr>
              <a:t>Document type </a:t>
            </a:r>
            <a:r>
              <a:rPr lang="fr-FR" sz="1428" baseline="0" dirty="0">
                <a:solidFill>
                  <a:schemeClr val="accent6"/>
                </a:solidFill>
                <a:latin typeface="+mn-lt"/>
              </a:rPr>
              <a:t>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fr-FR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</a:t>
            </a:r>
            <a:r>
              <a:rPr lang="en-US" sz="816" baseline="0">
                <a:solidFill>
                  <a:srgbClr val="FFFFFF"/>
                </a:solidFill>
                <a:latin typeface="+mn-lt"/>
              </a:rPr>
              <a:t>without specific permission </a:t>
            </a: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is strictly prohibited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7" name="Rectangle 16"/>
          <p:cNvSpPr/>
          <p:nvPr/>
        </p:nvSpPr>
        <p:spPr>
          <a:xfrm rot="5400000">
            <a:off x="8885738" y="3221372"/>
            <a:ext cx="6499845" cy="202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714" dirty="0">
                <a:solidFill>
                  <a:srgbClr val="808080"/>
                </a:solidFill>
                <a:latin typeface="+mn-lt"/>
              </a:rPr>
              <a:t>Document préliminaire de discussion qui n'a pas de valeur avant d'avoir été présenté aux instances de représentation </a:t>
            </a:r>
            <a:r>
              <a:rPr lang="fr-FR" sz="714">
                <a:solidFill>
                  <a:srgbClr val="808080"/>
                </a:solidFill>
                <a:latin typeface="+mn-lt"/>
              </a:rPr>
              <a:t>du personnel</a:t>
            </a:r>
            <a:endParaRPr lang="fr-FR" sz="714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594559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472537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fr-FR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fr-FR" sz="816" baseline="0">
                <a:solidFill>
                  <a:srgbClr val="808080"/>
                </a:solidFill>
                <a:latin typeface="+mn-lt"/>
              </a:rPr>
              <a:t>McKinsey &amp; Company</a:t>
            </a:r>
            <a:endParaRPr lang="fr-FR" sz="816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C1FB0C-4217-4010-AA5C-319ABB0B29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88139" y="60479"/>
            <a:ext cx="1089971" cy="348770"/>
          </a:xfrm>
          <a:prstGeom prst="roundRect">
            <a:avLst>
              <a:gd name="adj" fmla="val 8594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0A495703-5764-4030-BF48-8292997033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69418" y="454917"/>
            <a:ext cx="1127410" cy="348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24315EB-F505-41B0-9642-3237679739B1}"/>
              </a:ext>
            </a:extLst>
          </p:cNvPr>
          <p:cNvSpPr/>
          <p:nvPr userDrawn="1"/>
        </p:nvSpPr>
        <p:spPr>
          <a:xfrm rot="5400000">
            <a:off x="8816459" y="3229224"/>
            <a:ext cx="6499845" cy="18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12" kern="1200" dirty="0">
                <a:solidFill>
                  <a:schemeClr val="accent6"/>
                </a:solidFill>
                <a:effectLst/>
                <a:latin typeface="Arial" charset="0"/>
                <a:ea typeface="+mn-ea"/>
                <a:cs typeface="+mn-cs"/>
              </a:rPr>
              <a:t>Document de travail, sous réserve de validation par le Comité Exécutif et de présentation aux instances représentatives du personnel </a:t>
            </a:r>
            <a:endParaRPr lang="fr-FR" sz="102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7180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72866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fr-FR" sz="816" baseline="0">
                <a:solidFill>
                  <a:srgbClr val="FFFFFF"/>
                </a:solidFill>
                <a:latin typeface="+mn-lt"/>
              </a:rPr>
              <a:t>McKinsey &amp; Company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/>
            <a:endParaRPr lang="fr-FR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888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714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6DAEAE-F020-464B-8195-FA1B9038E6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3060A82-73A4-4E9D-8CBE-D9420AECFEB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812874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6245756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lum bright="2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12"/>
            <a:ext cx="12192000" cy="6852988"/>
          </a:xfrm>
          <a:prstGeom prst="rect">
            <a:avLst/>
          </a:prstGeom>
        </p:spPr>
      </p:pic>
      <p:sp>
        <p:nvSpPr>
          <p:cNvPr id="11" name="TitleRectangle"/>
          <p:cNvSpPr txBox="1">
            <a:spLocks/>
          </p:cNvSpPr>
          <p:nvPr/>
        </p:nvSpPr>
        <p:spPr>
          <a:xfrm>
            <a:off x="2835801" y="0"/>
            <a:ext cx="9354038" cy="3648610"/>
          </a:xfrm>
          <a:prstGeom prst="rect">
            <a:avLst/>
          </a:prstGeom>
          <a:solidFill>
            <a:srgbClr val="002960">
              <a:alpha val="78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defPPr>
              <a:defRPr lang="en-US"/>
            </a:defPPr>
            <a:lvl1pPr marL="0" indent="0" defTabSz="914400" eaLnBrk="1" fontAlgn="auto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baseline="0">
                <a:solidFill>
                  <a:srgbClr val="00ADEF"/>
                </a:solidFill>
                <a:latin typeface="+mn-lt"/>
              </a:defRPr>
            </a:lvl1pPr>
            <a:lvl2pPr marL="0" indent="0" defTabSz="914400" eaLnBrk="1" latinLnBrk="0" hangingPunct="1">
              <a:spcBef>
                <a:spcPct val="20000"/>
              </a:spcBef>
              <a:buFont typeface="Wingdings" charset="2"/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Lucida Grande"/>
              <a:buChar char="–"/>
              <a:defRPr>
                <a:latin typeface="+mn-lt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>
                <a:latin typeface="+mn-lt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/>
            <a:r>
              <a:rPr lang="fr-FR" sz="3265" dirty="0"/>
              <a:t>
    </a:t>
            </a:r>
            <a:br>
              <a:rPr lang="fr-FR" sz="3265" dirty="0"/>
            </a:br>
            <a:endParaRPr lang="fr-FR" sz="3265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85966" y="1374263"/>
            <a:ext cx="7374166" cy="45217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en-US" sz="3265" b="0" i="0" kern="1200" noProof="0" dirty="0" smtClean="0">
                <a:solidFill>
                  <a:schemeClr val="bg1"/>
                </a:solidFill>
                <a:latin typeface="Arial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fr-FR" noProof="0" dirty="0" err="1"/>
              <a:t>Presentation</a:t>
            </a:r>
            <a:r>
              <a:rPr lang="fr-FR" noProof="0" dirty="0"/>
              <a:t> </a:t>
            </a:r>
            <a:r>
              <a:rPr lang="fr-FR" noProof="0" dirty="0" err="1"/>
              <a:t>title</a:t>
            </a:r>
            <a:r>
              <a:rPr lang="fr-FR" noProof="0" dirty="0"/>
              <a:t> </a:t>
            </a:r>
            <a:r>
              <a:rPr lang="fr-FR" noProof="0" dirty="0" err="1"/>
              <a:t>goes</a:t>
            </a:r>
            <a:r>
              <a:rPr lang="fr-FR" noProof="0" dirty="0"/>
              <a:t> in </a:t>
            </a:r>
            <a:r>
              <a:rPr lang="fr-FR" noProof="0" dirty="0" err="1"/>
              <a:t>this</a:t>
            </a:r>
            <a:r>
              <a:rPr lang="fr-FR" noProof="0" dirty="0"/>
              <a:t> box </a:t>
            </a:r>
            <a:r>
              <a:rPr lang="fr-FR" noProof="0" dirty="0" err="1"/>
              <a:t>here</a:t>
            </a:r>
            <a:endParaRPr lang="fr-FR" noProof="0" dirty="0"/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85967" y="2876668"/>
            <a:ext cx="7349757" cy="219820"/>
          </a:xfrm>
        </p:spPr>
        <p:txBody>
          <a:bodyPr/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ent Name  |  Date</a:t>
            </a:r>
          </a:p>
        </p:txBody>
      </p:sp>
      <p:sp>
        <p:nvSpPr>
          <p:cNvPr id="27" name="Disclaimer-template_Blue"/>
          <p:cNvSpPr>
            <a:spLocks noChangeArrowheads="1"/>
          </p:cNvSpPr>
          <p:nvPr/>
        </p:nvSpPr>
        <p:spPr bwMode="auto">
          <a:xfrm>
            <a:off x="4193908" y="6521886"/>
            <a:ext cx="696747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endParaRPr lang="fr-FR" sz="816" dirty="0" err="1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1570873" name="Picture 1081" descr="Groupe Casino E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398" y="5839180"/>
            <a:ext cx="2190024" cy="806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Image" hidden="1"/>
          <p:cNvSpPr>
            <a:spLocks noEditPoints="1"/>
          </p:cNvSpPr>
          <p:nvPr/>
        </p:nvSpPr>
        <p:spPr bwMode="white">
          <a:xfrm>
            <a:off x="3087098" y="186641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fr-FR" sz="1632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220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2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241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481138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99947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ustomTitl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0"/>
            <a:ext cx="12192001" cy="6858003"/>
          </a:xfrm>
          <a:prstGeom prst="rect">
            <a:avLst/>
          </a:prstGeom>
        </p:spPr>
      </p:pic>
      <p:sp>
        <p:nvSpPr>
          <p:cNvPr id="16" name="TitleRectangle"/>
          <p:cNvSpPr txBox="1">
            <a:spLocks/>
          </p:cNvSpPr>
          <p:nvPr/>
        </p:nvSpPr>
        <p:spPr>
          <a:xfrm>
            <a:off x="2835801" y="0"/>
            <a:ext cx="9354038" cy="3648610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lang="x-none"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lang="x-none"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x-non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x-none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 lang="x-none"/>
            </a:pPr>
            <a:r>
              <a:rPr lang="fr-FR" sz="3265" baseline="0">
                <a:solidFill>
                  <a:srgbClr val="00ADEF"/>
                </a:solidFill>
                <a:latin typeface="+mn-lt"/>
              </a:rPr>
              <a:t>
              </a:t>
            </a:r>
            <a:br>
              <a:rPr lang="fr-FR" sz="3265" baseline="0">
                <a:solidFill>
                  <a:srgbClr val="00ADEF"/>
                </a:solidFill>
                <a:latin typeface="+mn-lt"/>
              </a:rPr>
            </a:br>
            <a:endParaRPr lang="fr-FR" sz="3265" baseline="0" dirty="0">
              <a:solidFill>
                <a:srgbClr val="00ADEF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fr-FR" sz="816" b="1" baseline="0">
                <a:solidFill>
                  <a:srgbClr val="FFFFFF"/>
                </a:solidFill>
                <a:latin typeface="+mn-lt"/>
              </a:rPr>
              <a:t>WORKING DRAFT</a:t>
            </a:r>
            <a:endParaRPr lang="fr-FR" sz="816" b="1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6/18/2021 1：34 PM China Standard Time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05/02/2018 22：51 Romance Standard Time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lang="x-none"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fr-FR" noProof="0"/>
              <a:t>Click to edit Master title style</a:t>
            </a:r>
            <a:endParaRPr lang="fr-FR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fr-FR" noProof="0"/>
              <a:t>Click to edit Master subtitle style</a:t>
            </a:r>
            <a:endParaRPr lang="fr-FR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fr-FR" sz="1428" baseline="0">
                <a:solidFill>
                  <a:schemeClr val="accent6"/>
                </a:solidFill>
                <a:latin typeface="+mn-lt"/>
              </a:rPr>
              <a:t>Document type </a:t>
            </a:r>
            <a:r>
              <a:rPr lang="fr-FR" sz="1428" baseline="0" dirty="0">
                <a:solidFill>
                  <a:schemeClr val="accent6"/>
                </a:solidFill>
                <a:latin typeface="+mn-lt"/>
              </a:rPr>
              <a:t>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fr-FR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</a:t>
            </a:r>
            <a:r>
              <a:rPr lang="en-US" sz="816" baseline="0">
                <a:solidFill>
                  <a:srgbClr val="FFFFFF"/>
                </a:solidFill>
                <a:latin typeface="+mn-lt"/>
              </a:rPr>
              <a:t>without specific permission </a:t>
            </a: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is strictly prohibited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7" name="Rectangle 16"/>
          <p:cNvSpPr/>
          <p:nvPr/>
        </p:nvSpPr>
        <p:spPr>
          <a:xfrm rot="5400000">
            <a:off x="8885738" y="3221372"/>
            <a:ext cx="6499845" cy="202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714" dirty="0">
                <a:solidFill>
                  <a:srgbClr val="808080"/>
                </a:solidFill>
                <a:latin typeface="+mn-lt"/>
              </a:rPr>
              <a:t>Document préliminaire de discussion qui n'a pas de valeur avant d'avoir été présenté aux instances de représentation </a:t>
            </a:r>
            <a:r>
              <a:rPr lang="fr-FR" sz="714">
                <a:solidFill>
                  <a:srgbClr val="808080"/>
                </a:solidFill>
                <a:latin typeface="+mn-lt"/>
              </a:rPr>
              <a:t>du personnel</a:t>
            </a:r>
            <a:endParaRPr lang="fr-FR" sz="714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162129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213627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fr-FR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fr-FR" sz="816" baseline="0">
                <a:solidFill>
                  <a:srgbClr val="808080"/>
                </a:solidFill>
                <a:latin typeface="+mn-lt"/>
              </a:rPr>
              <a:t>McKinsey &amp; Company</a:t>
            </a:r>
            <a:endParaRPr lang="fr-FR" sz="816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C1FB0C-4217-4010-AA5C-319ABB0B29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88139" y="60479"/>
            <a:ext cx="1089971" cy="348770"/>
          </a:xfrm>
          <a:prstGeom prst="roundRect">
            <a:avLst>
              <a:gd name="adj" fmla="val 8594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</p:pic>
      <p:pic>
        <p:nvPicPr>
          <p:cNvPr id="7" name="Picture 31">
            <a:extLst>
              <a:ext uri="{FF2B5EF4-FFF2-40B4-BE49-F238E27FC236}">
                <a16:creationId xmlns:a16="http://schemas.microsoft.com/office/drawing/2014/main" id="{0A495703-5764-4030-BF48-8292997033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69418" y="454917"/>
            <a:ext cx="1127410" cy="348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24315EB-F505-41B0-9642-3237679739B1}"/>
              </a:ext>
            </a:extLst>
          </p:cNvPr>
          <p:cNvSpPr/>
          <p:nvPr userDrawn="1"/>
        </p:nvSpPr>
        <p:spPr>
          <a:xfrm rot="5400000">
            <a:off x="8816459" y="3229224"/>
            <a:ext cx="6499845" cy="18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12" kern="1200" dirty="0">
                <a:solidFill>
                  <a:schemeClr val="accent6"/>
                </a:solidFill>
                <a:effectLst/>
                <a:latin typeface="Arial" charset="0"/>
                <a:ea typeface="+mn-ea"/>
                <a:cs typeface="+mn-cs"/>
              </a:rPr>
              <a:t>Document de travail, sous réserve de validation par le Comité Exécutif et de présentation aux instances représentatives du personnel </a:t>
            </a:r>
            <a:endParaRPr lang="fr-FR" sz="102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9369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99027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lang="x-none">
                <a:solidFill>
                  <a:schemeClr val="bg1"/>
                </a:solidFill>
              </a:defRPr>
            </a:lvl1pPr>
          </a:lstStyle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fr-FR" sz="816" baseline="0">
                <a:solidFill>
                  <a:srgbClr val="FFFFFF"/>
                </a:solidFill>
                <a:latin typeface="+mn-lt"/>
              </a:rPr>
              <a:t>McKinsey &amp; Company</a:t>
            </a:r>
            <a:endParaRPr lang="fr-FR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/>
            <a:endParaRPr lang="fr-FR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2440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046083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05616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email">
            <a:lum bright="2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12"/>
            <a:ext cx="12192000" cy="6852988"/>
          </a:xfrm>
          <a:prstGeom prst="rect">
            <a:avLst/>
          </a:prstGeom>
        </p:spPr>
      </p:pic>
      <p:sp>
        <p:nvSpPr>
          <p:cNvPr id="11" name="TitleRectangle"/>
          <p:cNvSpPr txBox="1">
            <a:spLocks/>
          </p:cNvSpPr>
          <p:nvPr/>
        </p:nvSpPr>
        <p:spPr>
          <a:xfrm>
            <a:off x="2835801" y="0"/>
            <a:ext cx="9354038" cy="3648610"/>
          </a:xfrm>
          <a:prstGeom prst="rect">
            <a:avLst/>
          </a:prstGeom>
          <a:solidFill>
            <a:srgbClr val="002960">
              <a:alpha val="78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defPPr>
              <a:defRPr lang="en-US"/>
            </a:defPPr>
            <a:lvl1pPr marL="0" indent="0" defTabSz="914400" eaLnBrk="1" fontAlgn="auto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baseline="0">
                <a:solidFill>
                  <a:srgbClr val="00ADEF"/>
                </a:solidFill>
                <a:latin typeface="+mn-lt"/>
              </a:defRPr>
            </a:lvl1pPr>
            <a:lvl2pPr marL="0" indent="0" defTabSz="914400" eaLnBrk="1" latinLnBrk="0" hangingPunct="1">
              <a:spcBef>
                <a:spcPct val="20000"/>
              </a:spcBef>
              <a:buFont typeface="Wingdings" charset="2"/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 marL="1143000" indent="-228600" defTabSz="914400" eaLnBrk="1" latinLnBrk="0" hangingPunct="1">
              <a:spcBef>
                <a:spcPct val="20000"/>
              </a:spcBef>
              <a:buFont typeface="Lucida Grande"/>
              <a:buChar char="–"/>
              <a:defRPr>
                <a:latin typeface="+mn-lt"/>
              </a:defRPr>
            </a:lvl3pPr>
            <a:lvl4pPr marL="1600200" indent="-228600" defTabSz="914400" eaLnBrk="1" latinLnBrk="0" hangingPunct="1">
              <a:spcBef>
                <a:spcPct val="20000"/>
              </a:spcBef>
              <a:buFont typeface="Arial" pitchFamily="34" charset="0"/>
              <a:buChar char="–"/>
              <a:defRPr>
                <a:latin typeface="+mn-lt"/>
              </a:defRPr>
            </a:lvl4pPr>
            <a:lvl5pPr marL="2057400" indent="-228600" defTabSz="914400" eaLnBrk="1" latinLnBrk="0" hangingPunct="1">
              <a:spcBef>
                <a:spcPct val="20000"/>
              </a:spcBef>
              <a:buFont typeface="Arial" pitchFamily="34" charset="0"/>
              <a:buChar char="»"/>
              <a:defRPr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/>
            <a:r>
              <a:rPr lang="fr-FR" sz="3265" dirty="0"/>
              <a:t>
    </a:t>
            </a:r>
            <a:br>
              <a:rPr lang="fr-FR" sz="3265" dirty="0"/>
            </a:br>
            <a:endParaRPr lang="fr-FR" sz="3265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085966" y="1374263"/>
            <a:ext cx="7374166" cy="45217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en-US" sz="3265" b="0" i="0" kern="1200" noProof="0" dirty="0" smtClean="0">
                <a:solidFill>
                  <a:schemeClr val="bg1"/>
                </a:solidFill>
                <a:latin typeface="Arial"/>
                <a:ea typeface="+mn-ea"/>
                <a:cs typeface="+mn-cs"/>
                <a:sym typeface="Arial"/>
              </a:defRPr>
            </a:lvl1pPr>
          </a:lstStyle>
          <a:p>
            <a:pPr lvl="0"/>
            <a:r>
              <a:rPr lang="fr-FR" noProof="0" dirty="0" err="1"/>
              <a:t>Presentation</a:t>
            </a:r>
            <a:r>
              <a:rPr lang="fr-FR" noProof="0" dirty="0"/>
              <a:t> </a:t>
            </a:r>
            <a:r>
              <a:rPr lang="fr-FR" noProof="0" dirty="0" err="1"/>
              <a:t>title</a:t>
            </a:r>
            <a:r>
              <a:rPr lang="fr-FR" noProof="0" dirty="0"/>
              <a:t> </a:t>
            </a:r>
            <a:r>
              <a:rPr lang="fr-FR" noProof="0" dirty="0" err="1"/>
              <a:t>goes</a:t>
            </a:r>
            <a:r>
              <a:rPr lang="fr-FR" noProof="0" dirty="0"/>
              <a:t> in </a:t>
            </a:r>
            <a:r>
              <a:rPr lang="fr-FR" noProof="0" dirty="0" err="1"/>
              <a:t>this</a:t>
            </a:r>
            <a:r>
              <a:rPr lang="fr-FR" noProof="0" dirty="0"/>
              <a:t> box </a:t>
            </a:r>
            <a:r>
              <a:rPr lang="fr-FR" noProof="0" dirty="0" err="1"/>
              <a:t>here</a:t>
            </a:r>
            <a:endParaRPr lang="fr-FR" noProof="0" dirty="0"/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85967" y="2876668"/>
            <a:ext cx="7349757" cy="219820"/>
          </a:xfrm>
        </p:spPr>
        <p:txBody>
          <a:bodyPr/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Client Name  |  Date</a:t>
            </a:r>
          </a:p>
        </p:txBody>
      </p:sp>
      <p:sp>
        <p:nvSpPr>
          <p:cNvPr id="27" name="Disclaimer-template_Blue"/>
          <p:cNvSpPr>
            <a:spLocks noChangeArrowheads="1"/>
          </p:cNvSpPr>
          <p:nvPr/>
        </p:nvSpPr>
        <p:spPr bwMode="auto">
          <a:xfrm>
            <a:off x="4193908" y="6521886"/>
            <a:ext cx="6967474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21202" eaLnBrk="0" hangingPunct="0"/>
            <a:endParaRPr lang="fr-FR" sz="816" dirty="0" err="1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1570873" name="Picture 1081" descr="Groupe Casino E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398" y="5839180"/>
            <a:ext cx="2190024" cy="806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Image" hidden="1"/>
          <p:cNvSpPr>
            <a:spLocks noEditPoints="1"/>
          </p:cNvSpPr>
          <p:nvPr/>
        </p:nvSpPr>
        <p:spPr bwMode="white">
          <a:xfrm>
            <a:off x="3087098" y="186641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/>
            <a:endParaRPr lang="fr-FR" sz="1632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3634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2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726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：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015706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926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28771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94607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42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0660409-7238-475D-93B9-9453F1A2D2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EC135CC-EABC-48C2-88B3-DE21A5082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270483E-A80D-4FCF-B3CD-2A1C983CC760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5" name="object 33">
            <a:extLst>
              <a:ext uri="{FF2B5EF4-FFF2-40B4-BE49-F238E27FC236}">
                <a16:creationId xmlns:a16="http://schemas.microsoft.com/office/drawing/2014/main" id="{455CB20F-B654-4FDF-83DB-DF19BEE37AA8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B8F23BB-CBDA-4476-B174-BD256EA46A8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651A079-E57F-4243-88DD-A6641F78E210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8BE3171-D11E-4049-AB26-6A7A71DB47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FFC07D9-C114-4D77-9E1E-BEBDECD84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E2C2371F-FB5C-4B58-BBC0-4C651F87F5D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0410065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Last Modified 6/18/2021 1：34 PM China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05.09.2017 17：04 W. Europe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accent6"/>
                </a:solidFill>
                <a:latin typeface="+mn-lt"/>
              </a:rPr>
              <a:t>Document type </a:t>
            </a: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</a:t>
            </a:r>
            <a:r>
              <a:rPr lang="en-US" sz="816" baseline="0">
                <a:solidFill>
                  <a:srgbClr val="FFFFFF"/>
                </a:solidFill>
                <a:latin typeface="+mn-lt"/>
              </a:rPr>
              <a:t>without specific permission </a:t>
            </a: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698552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49816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59834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5038862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650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E7DDFAC9-C348-429E-A123-49F1085EE4EA}" type="slidenum">
              <a:rPr lang="en-US" sz="1020" b="0" i="0" baseline="0" smtClean="0"/>
              <a:pPr algn="l"/>
              <a:t>‹#›</a:t>
            </a:fld>
            <a:endParaRPr lang="en-US" sz="102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57775165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293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543005B3-BB4D-4DEF-BF80-E61B94F148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5C766E-4676-4652-A854-74948C2099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05458B6-1D47-418E-892B-C1191D3944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6812AF53-2D44-41AA-BF9A-653CAA12DB26}"/>
              </a:ext>
            </a:extLst>
          </p:cNvPr>
          <p:cNvGrpSpPr/>
          <p:nvPr userDrawn="1"/>
        </p:nvGrpSpPr>
        <p:grpSpPr>
          <a:xfrm>
            <a:off x="554736" y="6586304"/>
            <a:ext cx="1669586" cy="261606"/>
            <a:chOff x="264321" y="6586304"/>
            <a:chExt cx="1669586" cy="26160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E717AC3-9DF4-4B20-8250-8BB3E478645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264321" y="6600934"/>
              <a:ext cx="893483" cy="200905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10818F7-6EFD-445F-A7B5-6DCB113EE583}"/>
                </a:ext>
              </a:extLst>
            </p:cNvPr>
            <p:cNvSpPr txBox="1"/>
            <p:nvPr userDrawn="1"/>
          </p:nvSpPr>
          <p:spPr>
            <a:xfrm>
              <a:off x="1043932" y="6586304"/>
              <a:ext cx="889975" cy="261606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r>
                <a:rPr lang="en-US" sz="1100" b="1" spc="400" dirty="0">
                  <a:solidFill>
                    <a:srgbClr val="78B9E7"/>
                  </a:solidFill>
                  <a:latin typeface="Arial" panose="020B0604020202020204" pitchFamily="34" charset="0"/>
                  <a:sym typeface="Arial" panose="020B0604020202020204" pitchFamily="34" charset="0"/>
                </a:rPr>
                <a:t>CHINA</a:t>
              </a:r>
            </a:p>
          </p:txBody>
        </p:sp>
      </p:grpSp>
      <p:sp>
        <p:nvSpPr>
          <p:cNvPr id="14" name="object 33">
            <a:extLst>
              <a:ext uri="{FF2B5EF4-FFF2-40B4-BE49-F238E27FC236}">
                <a16:creationId xmlns:a16="http://schemas.microsoft.com/office/drawing/2014/main" id="{CFADD6D4-6AD3-476B-8DB2-38A549665ED2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232603" y="4921663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232603" y="342900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b="1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32603" y="2674707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6957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514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10757789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690760"/>
            <a:ext cx="1075778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286746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560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DE74C0-583A-4DFD-B60B-D16776847A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AB053DB1-6D3A-45F1-963B-4A7563AC82D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6378964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687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67586E6-F2AE-4FC1-BA7F-523A45B15F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4B93DB5-2A62-4AC6-B3C2-D804897AD90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44059051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959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3CC332-7C5A-4085-B8B7-3F586FFBF6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504C9685-AF92-4E70-8919-BA93F2FD016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1760963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403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46DAEAE-F020-464B-8195-FA1B9038E6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3060A82-73A4-4E9D-8CBE-D9420AECFEB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1779515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717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E4520C-CAB3-4A21-ADEF-DEC69F7FFE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EE59B90-210C-458D-888B-C3EE0531B6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53C0BD9-12A1-46E3-86B9-134001D5911A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545C8133-FF91-4CA3-B518-387EB12EA4DC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EB3477E-A12B-4B93-ADCD-8AF58E5D2D4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3ACAD0F-2D5E-4EA4-AF22-B52E792AAA8F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BEC29FB-97ED-4240-AF2D-B77B16EF56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8578698-E0ED-4442-B67F-6B73015E47F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4EA453-2CFA-4935-9555-645B63CB3A0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85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0660409-7238-475D-93B9-9453F1A2D2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EC135CC-EABC-48C2-88B3-DE21A5082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270483E-A80D-4FCF-B3CD-2A1C983CC760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5" name="object 33">
            <a:extLst>
              <a:ext uri="{FF2B5EF4-FFF2-40B4-BE49-F238E27FC236}">
                <a16:creationId xmlns:a16="http://schemas.microsoft.com/office/drawing/2014/main" id="{455CB20F-B654-4FDF-83DB-DF19BEE37AA8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6B8F23BB-CBDA-4476-B174-BD256EA46A8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651A079-E57F-4243-88DD-A6641F78E210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8BE3171-D11E-4049-AB26-6A7A71DB47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FFC07D9-C114-4D77-9E1E-BEBDECD84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E2C2371F-FB5C-4B58-BBC0-4C651F87F5D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12448097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8732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E4520C-CAB3-4A21-ADEF-DEC69F7FFE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EE59B90-210C-458D-888B-C3EE0531B6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53C0BD9-12A1-46E3-86B9-134001D5911A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545C8133-FF91-4CA3-B518-387EB12EA4DC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EB3477E-A12B-4B93-ADCD-8AF58E5D2D4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3ACAD0F-2D5E-4EA4-AF22-B52E792AAA8F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BEC29FB-97ED-4240-AF2D-B77B16EF56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8578698-E0ED-4442-B67F-6B73015E47F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4EA453-2CFA-4935-9555-645B63CB3A0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40089577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44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93703"/>
            <a:ext cx="5065776" cy="384721"/>
          </a:xfrm>
        </p:spPr>
        <p:txBody>
          <a:bodyPr wrap="square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92DDFD-B87B-4126-8BB8-C9E997F1AD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AF0AFB8-3F7C-4831-881E-D6E57670D3B2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594C650F-14E3-40B9-A4C8-A73181EFEF1D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0A76D1DC-8559-408A-A1F0-6305FB13823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CE9D6E8-E95E-4BDD-9009-8BC7A2FE070D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40BEDDE-6530-47BC-8296-9B06CFD8B45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9C53856-F76C-47AF-81E5-2CA015E2A1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E931A389-26FE-4B43-A8CF-17AB714BF2D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74288158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280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C82E64-B7B1-4715-AFEB-F6C1392CAF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F723BE7-B19F-4222-8184-897C0B9A55DA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4D766687-FBA0-487D-BA34-4EDA0614A64E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29FF161-1384-4A93-ACBE-C50C61F1F6E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09CF9CA-9133-47E1-B08E-2AF5B65450FA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C9E8C34-6EB3-4EBA-9B75-40EB299A4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C073773-1939-431A-A672-CBE1E9F52D3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421D707E-AC32-4B1C-8F0C-854097EB2F6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5035454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007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93703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352FF5-9D31-4D76-9B4C-CC2225C865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5E6DCA5-AA91-49BA-A33E-D3CEC935B5B1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D1898EBE-4564-4A40-B3A2-FBC5AD95AF3C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56E42AB3-2187-4BBD-B156-63803DD1EBC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4B3F3EB-B0BE-4114-B47F-8548846C8A57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74641EE-67E8-4863-802F-2E7683E520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821C58C-2B9F-42A3-BBBA-BBCAF68711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90F66662-3254-4133-AD1E-E0D62B49255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4721097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288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DBC94BB3-3B93-49D3-A395-578F052DC7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293703"/>
            <a:ext cx="10757789" cy="384721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C28636-4C73-4AF1-A17C-4EF0C7F0A2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5A7C726-5073-470E-86D6-5CD6542BC9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5461918D-4C5F-47C0-8AA5-0F7CB4D63FAB}"/>
              </a:ext>
            </a:extLst>
          </p:cNvPr>
          <p:cNvGrpSpPr/>
          <p:nvPr userDrawn="1"/>
        </p:nvGrpSpPr>
        <p:grpSpPr>
          <a:xfrm>
            <a:off x="554736" y="6586304"/>
            <a:ext cx="1669586" cy="261606"/>
            <a:chOff x="264321" y="6586304"/>
            <a:chExt cx="1669586" cy="261606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D927459-238C-4861-B5E9-178DA661C2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264321" y="6600934"/>
              <a:ext cx="893483" cy="200905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5CFE227-1AB6-487E-B98D-1DFC0852447A}"/>
                </a:ext>
              </a:extLst>
            </p:cNvPr>
            <p:cNvSpPr txBox="1"/>
            <p:nvPr userDrawn="1"/>
          </p:nvSpPr>
          <p:spPr>
            <a:xfrm>
              <a:off x="1043932" y="6586304"/>
              <a:ext cx="889975" cy="261606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r>
                <a:rPr lang="en-US" sz="1100" b="1" spc="400" dirty="0">
                  <a:solidFill>
                    <a:srgbClr val="78B9E7"/>
                  </a:solidFill>
                  <a:latin typeface="Arial" panose="020B0604020202020204" pitchFamily="34" charset="0"/>
                  <a:sym typeface="Arial" panose="020B0604020202020204" pitchFamily="34" charset="0"/>
                </a:rPr>
                <a:t>CHINA</a:t>
              </a:r>
            </a:p>
          </p:txBody>
        </p:sp>
      </p:grpSp>
      <p:sp>
        <p:nvSpPr>
          <p:cNvPr id="22" name="object 33">
            <a:extLst>
              <a:ext uri="{FF2B5EF4-FFF2-40B4-BE49-F238E27FC236}">
                <a16:creationId xmlns:a16="http://schemas.microsoft.com/office/drawing/2014/main" id="{4B1F5000-CF51-40FE-BEE8-3D7F95D13CE4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EE29017D-A8B1-4404-A83B-2EB10A913E3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303C9BC0-8788-4796-AB08-B010B2866DE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119169131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314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B4F75C7-4F16-49C2-A0B8-AAC0B86594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851809-4BED-440A-AC4E-4D8EAD0BFE26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2" name="object 33">
            <a:extLst>
              <a:ext uri="{FF2B5EF4-FFF2-40B4-BE49-F238E27FC236}">
                <a16:creationId xmlns:a16="http://schemas.microsoft.com/office/drawing/2014/main" id="{DA83D48F-911C-4053-83B9-93EE3C861FD8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C225F71-9367-46FD-9EA6-74A6A2289A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59597EF-1F77-42C4-B33D-35EC08FE9C72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AF40982-872F-41CE-9038-C9B5DE8911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FDEB16D-8838-4EF3-A3FD-1ED3C133D0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05506A4E-B9C5-44DC-9D7A-4571E38676C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166006404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640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0B83408-9500-461B-81D4-9F37621E59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5328213" y="2648883"/>
            <a:ext cx="1535574" cy="1560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6114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126181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97061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9B6CAA-3BE1-285A-BB50-27A4DB2CF2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CC06DC4-CB60-C65D-DCF8-9EDF69801F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DA2F243-4446-7C5D-4C6F-CFF8B3B75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7AFB11F-5D20-7990-449E-2F0CB4F93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9B33A6D-A2B5-AAFD-E01E-B2DCBF41F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81758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45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93703"/>
            <a:ext cx="5065776" cy="384721"/>
          </a:xfrm>
        </p:spPr>
        <p:txBody>
          <a:bodyPr wrap="square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70277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92DDFD-B87B-4126-8BB8-C9E997F1AD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AF0AFB8-3F7C-4831-881E-D6E57670D3B2}"/>
              </a:ext>
            </a:extLst>
          </p:cNvPr>
          <p:cNvSpPr txBox="1"/>
          <p:nvPr userDrawn="1"/>
        </p:nvSpPr>
        <p:spPr>
          <a:xfrm>
            <a:off x="1334347" y="6586304"/>
            <a:ext cx="889975" cy="261606"/>
          </a:xfrm>
          <a:prstGeom prst="rect">
            <a:avLst/>
          </a:prstGeom>
          <a:noFill/>
        </p:spPr>
        <p:txBody>
          <a:bodyPr wrap="none" lIns="91434" tIns="45718" rIns="91434" bIns="45718" rtlCol="0">
            <a:spAutoFit/>
          </a:bodyPr>
          <a:lstStyle/>
          <a:p>
            <a:r>
              <a:rPr lang="en-US" sz="1100" b="1" spc="400" dirty="0">
                <a:solidFill>
                  <a:srgbClr val="78B9E7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HINA</a:t>
            </a:r>
          </a:p>
        </p:txBody>
      </p:sp>
      <p:sp>
        <p:nvSpPr>
          <p:cNvPr id="13" name="object 33">
            <a:extLst>
              <a:ext uri="{FF2B5EF4-FFF2-40B4-BE49-F238E27FC236}">
                <a16:creationId xmlns:a16="http://schemas.microsoft.com/office/drawing/2014/main" id="{594C650F-14E3-40B9-A4C8-A73181EFEF1D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0A76D1DC-8559-408A-A1F0-6305FB13823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CE9D6E8-E95E-4BDD-9009-8BC7A2FE070D}"/>
              </a:ext>
            </a:extLst>
          </p:cNvPr>
          <p:cNvGrpSpPr/>
          <p:nvPr userDrawn="1"/>
        </p:nvGrpSpPr>
        <p:grpSpPr>
          <a:xfrm>
            <a:off x="554736" y="6600934"/>
            <a:ext cx="893483" cy="200905"/>
            <a:chOff x="554736" y="6600934"/>
            <a:chExt cx="893483" cy="2009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40BEDDE-6530-47BC-8296-9B06CFD8B45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554736" y="6600934"/>
              <a:ext cx="893483" cy="200905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9C53856-F76C-47AF-81E5-2CA015E2A1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lum bright="-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787" t="1" r="67330" b="-1"/>
            <a:stretch/>
          </p:blipFill>
          <p:spPr>
            <a:xfrm>
              <a:off x="767715" y="6600934"/>
              <a:ext cx="680504" cy="200905"/>
            </a:xfrm>
            <a:prstGeom prst="rect">
              <a:avLst/>
            </a:prstGeom>
          </p:spPr>
        </p:pic>
      </p:grp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E931A389-26FE-4B43-A8CF-17AB714BF2D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383007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： …</a:t>
            </a:r>
          </a:p>
        </p:txBody>
      </p:sp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9332378-DECE-A8E9-AE01-0DCBA83C6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D1DE49C-D685-3BEB-F350-6FC6DD8EF4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742AA85-DE96-31E6-1A28-4F110DFC5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5917DAD-3DD9-069D-BEEE-A579438842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99CF113-F129-7811-1880-567F4D1BD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248844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CA05769-2AFB-6402-0145-518BC2583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2439107B-FA8D-0F39-D05B-52CA8CCDF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EA19437-5416-BBD4-EAA8-1CDB38B77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BB6B788-DB4B-B776-B6EE-2F62777E6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B8EA070-3B9D-D12F-95CB-ACE01C912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46664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E07F18-9F7D-4CD9-E146-B1ADED1EE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4BD673C-EFD5-F2AF-8EC3-E113D77226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2EF38B0-B1BA-7B6E-D58A-56BAF809E7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8916810-972D-63F3-0473-4717497E58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A62E836-698A-FBF1-1FB0-130698696D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C81E482-C23A-20BC-FC79-00EABFF3CF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83365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2283BFF-2A3A-451F-ACC5-566DE8958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F684756-19EF-74C7-59CF-03052DAAEE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8FCFDBC7-2A3C-265B-1684-A5BB4A7EBF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6C86BD5D-A571-D075-7C19-578F84E21F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3730D1E5-B86A-686C-D1BF-649462F203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27D191E-8DFC-09E9-A8F3-12005469F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5742A2BD-C80E-7FF1-0F40-CEBEDDB7A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1DB9716B-1061-0038-3155-E16AE64C4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4440536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4D39FD-3D52-D671-C09D-0BAC5CA35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F17CE519-F06A-3876-AB47-DAD940D51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30B9EBF-8386-C53B-5AFB-06FE6D1A6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B679DCB5-8C37-B60E-51DE-20F7884F1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229848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02C77BD0-FCB3-9589-1C51-B7BAE5245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B326DD7-7751-0A90-F322-F3B2AD7B4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7C1636E-CEB4-1563-91A0-8CE4F4D86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734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092EA4-739D-BC17-3484-C400F6694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A4FD6CC-9F2A-1073-A615-318E7CDC84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1FFBF341-B999-A303-A8AA-3CA2063962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E9CC4DD-C43D-58DD-B60F-191C3A1DE2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EE672DD-A04F-476C-CE7E-E12721FB1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6BAE453-46F8-5219-8053-56007FA08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156582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142F14C-0056-055A-3AA3-9434C9D51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4556482B-A447-0C35-0FCC-43763B979A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48E4FF8-5EBA-825C-53AC-FA739E5229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50EF97D-C7BF-BCD4-48FE-3010CEB77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C7AAEB1-B231-5377-3FB9-59D0F949E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4E315E4-ED87-D89F-E24E-EB24F9E76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20038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AEF356-0AB8-B2F4-4A64-C2C790CC5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B7E8118D-F9FD-1A61-B994-EC8241F080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A8CF847-98AA-7AC7-D1E4-B6673BE0C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55F9124-5E6A-F498-DF4A-545E6E47C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EC21B39-34B6-FE87-1A32-360C8D803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57607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AE74D54E-D752-AB09-39E6-1583FCFCA4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2E37435-D6BC-B304-C65A-8FB0A43265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4D2E425-1845-236B-D103-C8847468B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1B75C05-066C-7D87-5C46-A6D2588B7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8EB6A9E-276E-6683-C7A4-7DDCFFB87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1593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9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43" Type="http://schemas.openxmlformats.org/officeDocument/2006/relationships/image" Target="../media/image4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9" Type="http://schemas.openxmlformats.org/officeDocument/2006/relationships/image" Target="../media/image2.emf"/><Relationship Id="rId21" Type="http://schemas.openxmlformats.org/officeDocument/2006/relationships/tags" Target="../tags/tag104.xml"/><Relationship Id="rId34" Type="http://schemas.openxmlformats.org/officeDocument/2006/relationships/tags" Target="../tags/tag117.xml"/><Relationship Id="rId42" Type="http://schemas.openxmlformats.org/officeDocument/2006/relationships/image" Target="../media/image6.emf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tags" Target="../tags/tag112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107.xml"/><Relationship Id="rId32" Type="http://schemas.openxmlformats.org/officeDocument/2006/relationships/tags" Target="../tags/tag115.xml"/><Relationship Id="rId37" Type="http://schemas.openxmlformats.org/officeDocument/2006/relationships/oleObject" Target="../embeddings/oleObject16.bin"/><Relationship Id="rId40" Type="http://schemas.openxmlformats.org/officeDocument/2006/relationships/image" Target="../media/image4.emf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tags" Target="../tags/tag119.xml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102.xml"/><Relationship Id="rId31" Type="http://schemas.openxmlformats.org/officeDocument/2006/relationships/tags" Target="../tags/tag114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tags" Target="../tags/tag118.xml"/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tags" Target="../tags/tag116.xml"/><Relationship Id="rId38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tags" Target="../tags/tag196.xml"/><Relationship Id="rId26" Type="http://schemas.openxmlformats.org/officeDocument/2006/relationships/tags" Target="../tags/tag204.xml"/><Relationship Id="rId39" Type="http://schemas.openxmlformats.org/officeDocument/2006/relationships/image" Target="../media/image8.png"/><Relationship Id="rId21" Type="http://schemas.openxmlformats.org/officeDocument/2006/relationships/tags" Target="../tags/tag199.xml"/><Relationship Id="rId34" Type="http://schemas.openxmlformats.org/officeDocument/2006/relationships/tags" Target="../tags/tag21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ags" Target="../tags/tag195.xml"/><Relationship Id="rId25" Type="http://schemas.openxmlformats.org/officeDocument/2006/relationships/tags" Target="../tags/tag203.xml"/><Relationship Id="rId33" Type="http://schemas.openxmlformats.org/officeDocument/2006/relationships/tags" Target="../tags/tag21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3.xml"/><Relationship Id="rId20" Type="http://schemas.openxmlformats.org/officeDocument/2006/relationships/tags" Target="../tags/tag198.xml"/><Relationship Id="rId29" Type="http://schemas.openxmlformats.org/officeDocument/2006/relationships/tags" Target="../tags/tag20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tags" Target="../tags/tag202.xml"/><Relationship Id="rId32" Type="http://schemas.openxmlformats.org/officeDocument/2006/relationships/tags" Target="../tags/tag210.xml"/><Relationship Id="rId37" Type="http://schemas.openxmlformats.org/officeDocument/2006/relationships/oleObject" Target="../embeddings/oleObject31.bin"/><Relationship Id="rId40" Type="http://schemas.openxmlformats.org/officeDocument/2006/relationships/image" Target="../media/image9.tiff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tags" Target="../tags/tag201.xml"/><Relationship Id="rId28" Type="http://schemas.openxmlformats.org/officeDocument/2006/relationships/tags" Target="../tags/tag206.xml"/><Relationship Id="rId36" Type="http://schemas.openxmlformats.org/officeDocument/2006/relationships/tags" Target="../tags/tag214.xml"/><Relationship Id="rId10" Type="http://schemas.openxmlformats.org/officeDocument/2006/relationships/slideLayout" Target="../slideLayouts/slideLayout41.xml"/><Relationship Id="rId19" Type="http://schemas.openxmlformats.org/officeDocument/2006/relationships/tags" Target="../tags/tag197.xml"/><Relationship Id="rId31" Type="http://schemas.openxmlformats.org/officeDocument/2006/relationships/tags" Target="../tags/tag209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tags" Target="../tags/tag200.xml"/><Relationship Id="rId27" Type="http://schemas.openxmlformats.org/officeDocument/2006/relationships/tags" Target="../tags/tag205.xml"/><Relationship Id="rId30" Type="http://schemas.openxmlformats.org/officeDocument/2006/relationships/tags" Target="../tags/tag208.xml"/><Relationship Id="rId35" Type="http://schemas.openxmlformats.org/officeDocument/2006/relationships/tags" Target="../tags/tag213.xml"/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tags" Target="../tags/tag317.xml"/><Relationship Id="rId18" Type="http://schemas.openxmlformats.org/officeDocument/2006/relationships/tags" Target="../tags/tag322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325.xml"/><Relationship Id="rId7" Type="http://schemas.openxmlformats.org/officeDocument/2006/relationships/tags" Target="../tags/tag311.xml"/><Relationship Id="rId12" Type="http://schemas.openxmlformats.org/officeDocument/2006/relationships/tags" Target="../tags/tag316.xml"/><Relationship Id="rId17" Type="http://schemas.openxmlformats.org/officeDocument/2006/relationships/tags" Target="../tags/tag321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320.xml"/><Relationship Id="rId20" Type="http://schemas.openxmlformats.org/officeDocument/2006/relationships/tags" Target="../tags/tag324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4.xml"/><Relationship Id="rId11" Type="http://schemas.openxmlformats.org/officeDocument/2006/relationships/tags" Target="../tags/tag315.xml"/><Relationship Id="rId24" Type="http://schemas.openxmlformats.org/officeDocument/2006/relationships/oleObject" Target="../embeddings/oleObject46.bin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319.xml"/><Relationship Id="rId23" Type="http://schemas.openxmlformats.org/officeDocument/2006/relationships/tags" Target="../tags/tag327.xml"/><Relationship Id="rId10" Type="http://schemas.openxmlformats.org/officeDocument/2006/relationships/tags" Target="../tags/tag314.xml"/><Relationship Id="rId19" Type="http://schemas.openxmlformats.org/officeDocument/2006/relationships/tags" Target="../tags/tag323.xml"/><Relationship Id="rId4" Type="http://schemas.openxmlformats.org/officeDocument/2006/relationships/slideLayout" Target="../slideLayouts/slideLayout50.xml"/><Relationship Id="rId9" Type="http://schemas.openxmlformats.org/officeDocument/2006/relationships/tags" Target="../tags/tag313.xml"/><Relationship Id="rId14" Type="http://schemas.openxmlformats.org/officeDocument/2006/relationships/tags" Target="../tags/tag318.xml"/><Relationship Id="rId22" Type="http://schemas.openxmlformats.org/officeDocument/2006/relationships/tags" Target="../tags/tag3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35.xml"/><Relationship Id="rId13" Type="http://schemas.openxmlformats.org/officeDocument/2006/relationships/tags" Target="../tags/tag340.xml"/><Relationship Id="rId18" Type="http://schemas.openxmlformats.org/officeDocument/2006/relationships/tags" Target="../tags/tag345.xml"/><Relationship Id="rId3" Type="http://schemas.openxmlformats.org/officeDocument/2006/relationships/slideLayout" Target="../slideLayouts/slideLayout54.xml"/><Relationship Id="rId21" Type="http://schemas.openxmlformats.org/officeDocument/2006/relationships/tags" Target="../tags/tag348.xml"/><Relationship Id="rId7" Type="http://schemas.openxmlformats.org/officeDocument/2006/relationships/tags" Target="../tags/tag334.xml"/><Relationship Id="rId12" Type="http://schemas.openxmlformats.org/officeDocument/2006/relationships/tags" Target="../tags/tag339.xml"/><Relationship Id="rId17" Type="http://schemas.openxmlformats.org/officeDocument/2006/relationships/tags" Target="../tags/tag344.xml"/><Relationship Id="rId25" Type="http://schemas.openxmlformats.org/officeDocument/2006/relationships/image" Target="../media/image13.emf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343.xml"/><Relationship Id="rId20" Type="http://schemas.openxmlformats.org/officeDocument/2006/relationships/tags" Target="../tags/tag347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5.xml"/><Relationship Id="rId11" Type="http://schemas.openxmlformats.org/officeDocument/2006/relationships/tags" Target="../tags/tag338.xml"/><Relationship Id="rId24" Type="http://schemas.openxmlformats.org/officeDocument/2006/relationships/oleObject" Target="../embeddings/oleObject51.bin"/><Relationship Id="rId5" Type="http://schemas.openxmlformats.org/officeDocument/2006/relationships/slideLayout" Target="../slideLayouts/slideLayout56.xml"/><Relationship Id="rId15" Type="http://schemas.openxmlformats.org/officeDocument/2006/relationships/tags" Target="../tags/tag342.xml"/><Relationship Id="rId23" Type="http://schemas.openxmlformats.org/officeDocument/2006/relationships/tags" Target="../tags/tag350.xml"/><Relationship Id="rId10" Type="http://schemas.openxmlformats.org/officeDocument/2006/relationships/tags" Target="../tags/tag337.xml"/><Relationship Id="rId19" Type="http://schemas.openxmlformats.org/officeDocument/2006/relationships/tags" Target="../tags/tag346.xml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336.xml"/><Relationship Id="rId14" Type="http://schemas.openxmlformats.org/officeDocument/2006/relationships/tags" Target="../tags/tag341.xml"/><Relationship Id="rId22" Type="http://schemas.openxmlformats.org/officeDocument/2006/relationships/tags" Target="../tags/tag3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57.xml"/><Relationship Id="rId13" Type="http://schemas.openxmlformats.org/officeDocument/2006/relationships/tags" Target="../tags/tag362.xml"/><Relationship Id="rId18" Type="http://schemas.openxmlformats.org/officeDocument/2006/relationships/tags" Target="../tags/tag367.xml"/><Relationship Id="rId26" Type="http://schemas.openxmlformats.org/officeDocument/2006/relationships/image" Target="../media/image13.emf"/><Relationship Id="rId3" Type="http://schemas.openxmlformats.org/officeDocument/2006/relationships/slideLayout" Target="../slideLayouts/slideLayout59.xml"/><Relationship Id="rId21" Type="http://schemas.openxmlformats.org/officeDocument/2006/relationships/tags" Target="../tags/tag370.xml"/><Relationship Id="rId7" Type="http://schemas.openxmlformats.org/officeDocument/2006/relationships/theme" Target="../theme/theme6.xml"/><Relationship Id="rId12" Type="http://schemas.openxmlformats.org/officeDocument/2006/relationships/tags" Target="../tags/tag361.xml"/><Relationship Id="rId17" Type="http://schemas.openxmlformats.org/officeDocument/2006/relationships/tags" Target="../tags/tag366.xml"/><Relationship Id="rId25" Type="http://schemas.openxmlformats.org/officeDocument/2006/relationships/oleObject" Target="../embeddings/oleObject56.bin"/><Relationship Id="rId2" Type="http://schemas.openxmlformats.org/officeDocument/2006/relationships/slideLayout" Target="../slideLayouts/slideLayout58.xml"/><Relationship Id="rId16" Type="http://schemas.openxmlformats.org/officeDocument/2006/relationships/tags" Target="../tags/tag365.xml"/><Relationship Id="rId20" Type="http://schemas.openxmlformats.org/officeDocument/2006/relationships/tags" Target="../tags/tag369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0.xml"/><Relationship Id="rId24" Type="http://schemas.openxmlformats.org/officeDocument/2006/relationships/tags" Target="../tags/tag373.xml"/><Relationship Id="rId5" Type="http://schemas.openxmlformats.org/officeDocument/2006/relationships/slideLayout" Target="../slideLayouts/slideLayout61.xml"/><Relationship Id="rId15" Type="http://schemas.openxmlformats.org/officeDocument/2006/relationships/tags" Target="../tags/tag364.xml"/><Relationship Id="rId23" Type="http://schemas.openxmlformats.org/officeDocument/2006/relationships/tags" Target="../tags/tag372.xml"/><Relationship Id="rId10" Type="http://schemas.openxmlformats.org/officeDocument/2006/relationships/tags" Target="../tags/tag359.xml"/><Relationship Id="rId19" Type="http://schemas.openxmlformats.org/officeDocument/2006/relationships/tags" Target="../tags/tag368.xml"/><Relationship Id="rId4" Type="http://schemas.openxmlformats.org/officeDocument/2006/relationships/slideLayout" Target="../slideLayouts/slideLayout60.xml"/><Relationship Id="rId9" Type="http://schemas.openxmlformats.org/officeDocument/2006/relationships/tags" Target="../tags/tag358.xml"/><Relationship Id="rId14" Type="http://schemas.openxmlformats.org/officeDocument/2006/relationships/tags" Target="../tags/tag363.xml"/><Relationship Id="rId22" Type="http://schemas.openxmlformats.org/officeDocument/2006/relationships/tags" Target="../tags/tag3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tags" Target="../tags/tag391.xml"/><Relationship Id="rId18" Type="http://schemas.openxmlformats.org/officeDocument/2006/relationships/tags" Target="../tags/tag396.xml"/><Relationship Id="rId26" Type="http://schemas.openxmlformats.org/officeDocument/2006/relationships/oleObject" Target="../embeddings/oleObject62.bin"/><Relationship Id="rId3" Type="http://schemas.openxmlformats.org/officeDocument/2006/relationships/slideLayout" Target="../slideLayouts/slideLayout65.xml"/><Relationship Id="rId21" Type="http://schemas.openxmlformats.org/officeDocument/2006/relationships/tags" Target="../tags/tag399.xml"/><Relationship Id="rId7" Type="http://schemas.openxmlformats.org/officeDocument/2006/relationships/slideLayout" Target="../slideLayouts/slideLayout69.xml"/><Relationship Id="rId12" Type="http://schemas.openxmlformats.org/officeDocument/2006/relationships/tags" Target="../tags/tag390.xml"/><Relationship Id="rId17" Type="http://schemas.openxmlformats.org/officeDocument/2006/relationships/tags" Target="../tags/tag395.xml"/><Relationship Id="rId25" Type="http://schemas.openxmlformats.org/officeDocument/2006/relationships/tags" Target="../tags/tag403.xml"/><Relationship Id="rId2" Type="http://schemas.openxmlformats.org/officeDocument/2006/relationships/slideLayout" Target="../slideLayouts/slideLayout64.xml"/><Relationship Id="rId16" Type="http://schemas.openxmlformats.org/officeDocument/2006/relationships/tags" Target="../tags/tag394.xml"/><Relationship Id="rId20" Type="http://schemas.openxmlformats.org/officeDocument/2006/relationships/tags" Target="../tags/tag398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389.xml"/><Relationship Id="rId24" Type="http://schemas.openxmlformats.org/officeDocument/2006/relationships/tags" Target="../tags/tag402.xml"/><Relationship Id="rId5" Type="http://schemas.openxmlformats.org/officeDocument/2006/relationships/slideLayout" Target="../slideLayouts/slideLayout67.xml"/><Relationship Id="rId15" Type="http://schemas.openxmlformats.org/officeDocument/2006/relationships/tags" Target="../tags/tag393.xml"/><Relationship Id="rId23" Type="http://schemas.openxmlformats.org/officeDocument/2006/relationships/tags" Target="../tags/tag401.xml"/><Relationship Id="rId10" Type="http://schemas.openxmlformats.org/officeDocument/2006/relationships/tags" Target="../tags/tag388.xml"/><Relationship Id="rId19" Type="http://schemas.openxmlformats.org/officeDocument/2006/relationships/tags" Target="../tags/tag397.xml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387.xml"/><Relationship Id="rId14" Type="http://schemas.openxmlformats.org/officeDocument/2006/relationships/tags" Target="../tags/tag392.xml"/><Relationship Id="rId22" Type="http://schemas.openxmlformats.org/officeDocument/2006/relationships/tags" Target="../tags/tag400.xml"/><Relationship Id="rId27" Type="http://schemas.openxmlformats.org/officeDocument/2006/relationships/image" Target="../media/image1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426.xml"/><Relationship Id="rId13" Type="http://schemas.openxmlformats.org/officeDocument/2006/relationships/tags" Target="../tags/tag431.xml"/><Relationship Id="rId18" Type="http://schemas.openxmlformats.org/officeDocument/2006/relationships/tags" Target="../tags/tag436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439.xml"/><Relationship Id="rId7" Type="http://schemas.openxmlformats.org/officeDocument/2006/relationships/tags" Target="../tags/tag425.xml"/><Relationship Id="rId12" Type="http://schemas.openxmlformats.org/officeDocument/2006/relationships/tags" Target="../tags/tag430.xml"/><Relationship Id="rId17" Type="http://schemas.openxmlformats.org/officeDocument/2006/relationships/tags" Target="../tags/tag435.xml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434.xml"/><Relationship Id="rId20" Type="http://schemas.openxmlformats.org/officeDocument/2006/relationships/tags" Target="../tags/tag438.xml"/><Relationship Id="rId1" Type="http://schemas.openxmlformats.org/officeDocument/2006/relationships/slideLayout" Target="../slideLayouts/slideLayout70.xml"/><Relationship Id="rId6" Type="http://schemas.openxmlformats.org/officeDocument/2006/relationships/tags" Target="../tags/tag424.xml"/><Relationship Id="rId11" Type="http://schemas.openxmlformats.org/officeDocument/2006/relationships/tags" Target="../tags/tag429.xml"/><Relationship Id="rId24" Type="http://schemas.openxmlformats.org/officeDocument/2006/relationships/image" Target="../media/image13.emf"/><Relationship Id="rId5" Type="http://schemas.openxmlformats.org/officeDocument/2006/relationships/theme" Target="../theme/theme8.xml"/><Relationship Id="rId15" Type="http://schemas.openxmlformats.org/officeDocument/2006/relationships/tags" Target="../tags/tag433.xml"/><Relationship Id="rId23" Type="http://schemas.openxmlformats.org/officeDocument/2006/relationships/oleObject" Target="../embeddings/oleObject69.bin"/><Relationship Id="rId10" Type="http://schemas.openxmlformats.org/officeDocument/2006/relationships/tags" Target="../tags/tag428.xml"/><Relationship Id="rId19" Type="http://schemas.openxmlformats.org/officeDocument/2006/relationships/tags" Target="../tags/tag437.xml"/><Relationship Id="rId4" Type="http://schemas.openxmlformats.org/officeDocument/2006/relationships/slideLayout" Target="../slideLayouts/slideLayout73.xml"/><Relationship Id="rId9" Type="http://schemas.openxmlformats.org/officeDocument/2006/relationships/tags" Target="../tags/tag427.xml"/><Relationship Id="rId14" Type="http://schemas.openxmlformats.org/officeDocument/2006/relationships/tags" Target="../tags/tag432.xml"/><Relationship Id="rId22" Type="http://schemas.openxmlformats.org/officeDocument/2006/relationships/tags" Target="../tags/tag440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.xml"/><Relationship Id="rId18" Type="http://schemas.openxmlformats.org/officeDocument/2006/relationships/tags" Target="../tags/tag447.xml"/><Relationship Id="rId26" Type="http://schemas.openxmlformats.org/officeDocument/2006/relationships/tags" Target="../tags/tag455.xml"/><Relationship Id="rId39" Type="http://schemas.openxmlformats.org/officeDocument/2006/relationships/image" Target="../media/image2.emf"/><Relationship Id="rId21" Type="http://schemas.openxmlformats.org/officeDocument/2006/relationships/tags" Target="../tags/tag450.xml"/><Relationship Id="rId34" Type="http://schemas.openxmlformats.org/officeDocument/2006/relationships/tags" Target="../tags/tag463.xml"/><Relationship Id="rId42" Type="http://schemas.openxmlformats.org/officeDocument/2006/relationships/image" Target="../media/image6.emf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6" Type="http://schemas.openxmlformats.org/officeDocument/2006/relationships/theme" Target="../theme/theme9.xml"/><Relationship Id="rId20" Type="http://schemas.openxmlformats.org/officeDocument/2006/relationships/tags" Target="../tags/tag449.xml"/><Relationship Id="rId29" Type="http://schemas.openxmlformats.org/officeDocument/2006/relationships/tags" Target="../tags/tag458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ags" Target="../tags/tag453.xml"/><Relationship Id="rId32" Type="http://schemas.openxmlformats.org/officeDocument/2006/relationships/tags" Target="../tags/tag461.xml"/><Relationship Id="rId37" Type="http://schemas.openxmlformats.org/officeDocument/2006/relationships/oleObject" Target="../embeddings/oleObject73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tags" Target="../tags/tag452.xml"/><Relationship Id="rId28" Type="http://schemas.openxmlformats.org/officeDocument/2006/relationships/tags" Target="../tags/tag457.xml"/><Relationship Id="rId36" Type="http://schemas.openxmlformats.org/officeDocument/2006/relationships/tags" Target="../tags/tag465.xml"/><Relationship Id="rId10" Type="http://schemas.openxmlformats.org/officeDocument/2006/relationships/slideLayout" Target="../slideLayouts/slideLayout83.xml"/><Relationship Id="rId19" Type="http://schemas.openxmlformats.org/officeDocument/2006/relationships/tags" Target="../tags/tag448.xml"/><Relationship Id="rId31" Type="http://schemas.openxmlformats.org/officeDocument/2006/relationships/tags" Target="../tags/tag460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ags" Target="../tags/tag451.xml"/><Relationship Id="rId27" Type="http://schemas.openxmlformats.org/officeDocument/2006/relationships/tags" Target="../tags/tag456.xml"/><Relationship Id="rId30" Type="http://schemas.openxmlformats.org/officeDocument/2006/relationships/tags" Target="../tags/tag459.xml"/><Relationship Id="rId35" Type="http://schemas.openxmlformats.org/officeDocument/2006/relationships/tags" Target="../tags/tag464.xml"/><Relationship Id="rId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5.xml"/><Relationship Id="rId17" Type="http://schemas.openxmlformats.org/officeDocument/2006/relationships/tags" Target="../tags/tag446.xml"/><Relationship Id="rId25" Type="http://schemas.openxmlformats.org/officeDocument/2006/relationships/tags" Target="../tags/tag454.xml"/><Relationship Id="rId33" Type="http://schemas.openxmlformats.org/officeDocument/2006/relationships/tags" Target="../tags/tag462.xml"/><Relationship Id="rId3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680561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6" name="Picture 225">
            <a:extLst>
              <a:ext uri="{FF2B5EF4-FFF2-40B4-BE49-F238E27FC236}">
                <a16:creationId xmlns:a16="http://schemas.microsoft.com/office/drawing/2014/main" id="{60AA2E3F-2FF8-489E-8F9C-443CF754D5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56E4EA0E-41D0-4F42-8EB7-DC21405E1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pic>
        <p:nvPicPr>
          <p:cNvPr id="231" name="Picture 230">
            <a:extLst>
              <a:ext uri="{FF2B5EF4-FFF2-40B4-BE49-F238E27FC236}">
                <a16:creationId xmlns:a16="http://schemas.microsoft.com/office/drawing/2014/main" id="{A1EEF883-9C2E-4C34-994F-3AF32FA595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0895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 userDrawn="1">
            <p:ph type="title"/>
            <p:custDataLst>
              <p:tags r:id="rId21"/>
            </p:custDataLst>
          </p:nvPr>
        </p:nvSpPr>
        <p:spPr>
          <a:xfrm>
            <a:off x="554736" y="293703"/>
            <a:ext cx="10696224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83871"/>
            <a:ext cx="326852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D523A8DE-548C-415C-A4FE-150F43151F8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ACF21274-EE2F-4773-8112-9F173D5566A6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0" name="Legend2" hidden="1">
              <a:extLst>
                <a:ext uri="{FF2B5EF4-FFF2-40B4-BE49-F238E27FC236}">
                  <a16:creationId xmlns:a16="http://schemas.microsoft.com/office/drawing/2014/main" id="{4FE068AA-5DFE-4CC4-9231-3F017633B4BB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3" hidden="1">
              <a:extLst>
                <a:ext uri="{FF2B5EF4-FFF2-40B4-BE49-F238E27FC236}">
                  <a16:creationId xmlns:a16="http://schemas.microsoft.com/office/drawing/2014/main" id="{E5D64515-EEE3-44D8-A02D-46FF1891AEE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ineLegend3" hidden="1">
              <a:extLst>
                <a:ext uri="{FF2B5EF4-FFF2-40B4-BE49-F238E27FC236}">
                  <a16:creationId xmlns:a16="http://schemas.microsoft.com/office/drawing/2014/main" id="{16F31021-EBA9-48DB-83C9-DF455A4656B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3" name="LineLegend2" hidden="1">
              <a:extLst>
                <a:ext uri="{FF2B5EF4-FFF2-40B4-BE49-F238E27FC236}">
                  <a16:creationId xmlns:a16="http://schemas.microsoft.com/office/drawing/2014/main" id="{942F70E2-D1CE-4CCD-99D3-D927E2CA2BA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4" name="LineLegend1" hidden="1">
              <a:extLst>
                <a:ext uri="{FF2B5EF4-FFF2-40B4-BE49-F238E27FC236}">
                  <a16:creationId xmlns:a16="http://schemas.microsoft.com/office/drawing/2014/main" id="{39A2F502-C053-4E29-B32C-24D67DBF950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5" name="LegendMoons" hidden="1">
            <a:extLst>
              <a:ext uri="{FF2B5EF4-FFF2-40B4-BE49-F238E27FC236}">
                <a16:creationId xmlns:a16="http://schemas.microsoft.com/office/drawing/2014/main" id="{01B184D2-A7E6-4AA3-9D1A-4F559BA7D15C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6" name="Legend1" hidden="1">
              <a:extLst>
                <a:ext uri="{FF2B5EF4-FFF2-40B4-BE49-F238E27FC236}">
                  <a16:creationId xmlns:a16="http://schemas.microsoft.com/office/drawing/2014/main" id="{0ACCF0B0-2C44-4E41-9539-14588772856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7" name="Legend2" hidden="1">
              <a:extLst>
                <a:ext uri="{FF2B5EF4-FFF2-40B4-BE49-F238E27FC236}">
                  <a16:creationId xmlns:a16="http://schemas.microsoft.com/office/drawing/2014/main" id="{1FD68768-5920-4E0D-8E5E-0B9E550903F5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8" name="Legend3" hidden="1">
              <a:extLst>
                <a:ext uri="{FF2B5EF4-FFF2-40B4-BE49-F238E27FC236}">
                  <a16:creationId xmlns:a16="http://schemas.microsoft.com/office/drawing/2014/main" id="{1B1EA28E-E082-4508-9751-A3ED1CB068DF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4" hidden="1">
              <a:extLst>
                <a:ext uri="{FF2B5EF4-FFF2-40B4-BE49-F238E27FC236}">
                  <a16:creationId xmlns:a16="http://schemas.microsoft.com/office/drawing/2014/main" id="{5EC266DC-AECD-4A1F-8D8C-ABECD917E403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5" hidden="1">
              <a:extLst>
                <a:ext uri="{FF2B5EF4-FFF2-40B4-BE49-F238E27FC236}">
                  <a16:creationId xmlns:a16="http://schemas.microsoft.com/office/drawing/2014/main" id="{12D78D95-AB42-4178-928B-EE1E8B2072C8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199" name="MoonLegend1" hidden="1">
              <a:extLst>
                <a:ext uri="{FF2B5EF4-FFF2-40B4-BE49-F238E27FC236}">
                  <a16:creationId xmlns:a16="http://schemas.microsoft.com/office/drawing/2014/main" id="{13859AF4-1399-414C-AFE9-DEED8A715A61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419B53D6-FA44-4B65-BB97-6A28C32C291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EC816BA9-023B-4A4A-948F-FF7AA3AE1232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0" name="MoonLegend2" hidden="1">
              <a:extLst>
                <a:ext uri="{FF2B5EF4-FFF2-40B4-BE49-F238E27FC236}">
                  <a16:creationId xmlns:a16="http://schemas.microsoft.com/office/drawing/2014/main" id="{962F5441-E3F8-40D7-B1C6-3795883E458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DFDF766-7DBD-440B-8B7C-FD800DF7A7A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538EEA67-EAF0-4B56-BBF9-0103CB30F4C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1" name="MoonLegend3" hidden="1">
              <a:extLst>
                <a:ext uri="{FF2B5EF4-FFF2-40B4-BE49-F238E27FC236}">
                  <a16:creationId xmlns:a16="http://schemas.microsoft.com/office/drawing/2014/main" id="{DA7338F6-DCD6-47EF-9950-EC45949F992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379B70E-3854-4B29-B5DD-41BEB2040E5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38DB2C5E-A796-4D1D-BA28-DAA7C5C8C09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4" hidden="1">
              <a:extLst>
                <a:ext uri="{FF2B5EF4-FFF2-40B4-BE49-F238E27FC236}">
                  <a16:creationId xmlns:a16="http://schemas.microsoft.com/office/drawing/2014/main" id="{D4CA0E59-D048-4D58-BBA6-5551336D1AE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3233531-68F3-447A-850E-1F73DC01B06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B2B0DCF0-EE7A-4296-814E-572AD8D8C32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5" hidden="1">
              <a:extLst>
                <a:ext uri="{FF2B5EF4-FFF2-40B4-BE49-F238E27FC236}">
                  <a16:creationId xmlns:a16="http://schemas.microsoft.com/office/drawing/2014/main" id="{F1C035F5-0AF8-46FF-9D5F-9BE2682425EB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4" name="Oval 203" hidden="1">
                <a:extLst>
                  <a:ext uri="{FF2B5EF4-FFF2-40B4-BE49-F238E27FC236}">
                    <a16:creationId xmlns:a16="http://schemas.microsoft.com/office/drawing/2014/main" id="{F019ECB3-7879-40A8-80BE-CD5CE5848E6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Arc 204" hidden="1">
                <a:extLst>
                  <a:ext uri="{FF2B5EF4-FFF2-40B4-BE49-F238E27FC236}">
                    <a16:creationId xmlns:a16="http://schemas.microsoft.com/office/drawing/2014/main" id="{028CDF59-CA04-4520-870F-07FAED597B0C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4" name="LegendBoxes" hidden="1">
            <a:extLst>
              <a:ext uri="{FF2B5EF4-FFF2-40B4-BE49-F238E27FC236}">
                <a16:creationId xmlns:a16="http://schemas.microsoft.com/office/drawing/2014/main" id="{17EC1783-C60C-4C2A-B809-9A47E93804CC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5" name="RectangleLegend1" hidden="1">
              <a:extLst>
                <a:ext uri="{FF2B5EF4-FFF2-40B4-BE49-F238E27FC236}">
                  <a16:creationId xmlns:a16="http://schemas.microsoft.com/office/drawing/2014/main" id="{1B3BD3F2-2161-4937-99F5-BBB608AF2DC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6" name="RectangleLegend2" hidden="1">
              <a:extLst>
                <a:ext uri="{FF2B5EF4-FFF2-40B4-BE49-F238E27FC236}">
                  <a16:creationId xmlns:a16="http://schemas.microsoft.com/office/drawing/2014/main" id="{EC246C48-B830-4362-91A6-9B9FE83D547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7" name="RectangleLegend3" hidden="1">
              <a:extLst>
                <a:ext uri="{FF2B5EF4-FFF2-40B4-BE49-F238E27FC236}">
                  <a16:creationId xmlns:a16="http://schemas.microsoft.com/office/drawing/2014/main" id="{3DA4DD24-FCA9-405C-A186-FBA38FBBBA5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4" hidden="1">
              <a:extLst>
                <a:ext uri="{FF2B5EF4-FFF2-40B4-BE49-F238E27FC236}">
                  <a16:creationId xmlns:a16="http://schemas.microsoft.com/office/drawing/2014/main" id="{54B748FF-EB15-4443-B5D9-9CADDC1AFA3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5" hidden="1">
              <a:extLst>
                <a:ext uri="{FF2B5EF4-FFF2-40B4-BE49-F238E27FC236}">
                  <a16:creationId xmlns:a16="http://schemas.microsoft.com/office/drawing/2014/main" id="{311A5636-20E7-453F-B868-55AADCB975F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Legend1" hidden="1">
              <a:extLst>
                <a:ext uri="{FF2B5EF4-FFF2-40B4-BE49-F238E27FC236}">
                  <a16:creationId xmlns:a16="http://schemas.microsoft.com/office/drawing/2014/main" id="{31E4CCBA-D989-488C-A5AE-77D2A699A8F8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1" name="Legend2" hidden="1">
              <a:extLst>
                <a:ext uri="{FF2B5EF4-FFF2-40B4-BE49-F238E27FC236}">
                  <a16:creationId xmlns:a16="http://schemas.microsoft.com/office/drawing/2014/main" id="{4361FBFD-924E-4975-9240-8BB164EB903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2" name="Legend3" hidden="1">
              <a:extLst>
                <a:ext uri="{FF2B5EF4-FFF2-40B4-BE49-F238E27FC236}">
                  <a16:creationId xmlns:a16="http://schemas.microsoft.com/office/drawing/2014/main" id="{C9DFAA95-67EC-49B9-AB18-367346028E4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4" hidden="1">
              <a:extLst>
                <a:ext uri="{FF2B5EF4-FFF2-40B4-BE49-F238E27FC236}">
                  <a16:creationId xmlns:a16="http://schemas.microsoft.com/office/drawing/2014/main" id="{0DF4FAE7-11C1-4469-B7EA-56696E3A16AE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5" hidden="1">
              <a:extLst>
                <a:ext uri="{FF2B5EF4-FFF2-40B4-BE49-F238E27FC236}">
                  <a16:creationId xmlns:a16="http://schemas.microsoft.com/office/drawing/2014/main" id="{CE1070DC-DB6B-4FA8-84FA-366A9DED9A4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sp>
        <p:nvSpPr>
          <p:cNvPr id="234" name="Slide Number">
            <a:extLst>
              <a:ext uri="{FF2B5EF4-FFF2-40B4-BE49-F238E27FC236}">
                <a16:creationId xmlns:a16="http://schemas.microsoft.com/office/drawing/2014/main" id="{6EEF9384-4D13-436A-B1C8-42022C930DE9}"/>
              </a:ext>
            </a:extLst>
          </p:cNvPr>
          <p:cNvSpPr>
            <a:spLocks noChangeArrowheads="1"/>
          </p:cNvSpPr>
          <p:nvPr userDrawn="1">
            <p:custDataLst>
              <p:tags r:id="rId23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964" r:id="rId15"/>
    <p:sldLayoutId id="2147483968" r:id="rId16"/>
    <p:sldLayoutId id="2147483971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09728C-96C5-05BC-609B-1055445AA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815E6A9-FEBA-0B49-38B9-2AF3460B31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E40B44B-5B41-F9A4-AA2E-6A2671C699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9493C0-ED55-40A8-8A62-8D8939ABF51B}" type="datetimeFigureOut">
              <a:rPr lang="zh-CN" altLang="en-US" smtClean="0"/>
              <a:t>2023/12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0DD061B-3D78-C5D7-0031-AF13D30D86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31E0877-1B66-6F2A-C0CA-2F7F7B4DC2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4033FE-E712-404D-B75F-63B748D712B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5524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62057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2" name="Picture 231">
            <a:extLst>
              <a:ext uri="{FF2B5EF4-FFF2-40B4-BE49-F238E27FC236}">
                <a16:creationId xmlns:a16="http://schemas.microsoft.com/office/drawing/2014/main" id="{32661A8D-5931-4EEE-87AA-D206FDA8DF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554736" y="293703"/>
            <a:ext cx="10715565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8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4" name="LegendBoxes" hidden="1">
            <a:extLst>
              <a:ext uri="{FF2B5EF4-FFF2-40B4-BE49-F238E27FC236}">
                <a16:creationId xmlns:a16="http://schemas.microsoft.com/office/drawing/2014/main" id="{447C2871-9F4C-4F5F-A45F-0B14255A541C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6" name="RectangleLegend1" hidden="1">
              <a:extLst>
                <a:ext uri="{FF2B5EF4-FFF2-40B4-BE49-F238E27FC236}">
                  <a16:creationId xmlns:a16="http://schemas.microsoft.com/office/drawing/2014/main" id="{55396CEC-983A-4C70-A0E6-2F5EBC0A08C3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7" name="RectangleLegend2" hidden="1">
              <a:extLst>
                <a:ext uri="{FF2B5EF4-FFF2-40B4-BE49-F238E27FC236}">
                  <a16:creationId xmlns:a16="http://schemas.microsoft.com/office/drawing/2014/main" id="{4BA212B7-1EA6-4043-A70B-009A703576B2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3" hidden="1">
              <a:extLst>
                <a:ext uri="{FF2B5EF4-FFF2-40B4-BE49-F238E27FC236}">
                  <a16:creationId xmlns:a16="http://schemas.microsoft.com/office/drawing/2014/main" id="{350CBFAF-F2AF-4882-AB14-237FD54E6BFF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4" hidden="1">
              <a:extLst>
                <a:ext uri="{FF2B5EF4-FFF2-40B4-BE49-F238E27FC236}">
                  <a16:creationId xmlns:a16="http://schemas.microsoft.com/office/drawing/2014/main" id="{0B4A1678-6333-401A-8642-DE6270C9F4F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5" hidden="1">
              <a:extLst>
                <a:ext uri="{FF2B5EF4-FFF2-40B4-BE49-F238E27FC236}">
                  <a16:creationId xmlns:a16="http://schemas.microsoft.com/office/drawing/2014/main" id="{86C61A60-AD29-43AA-A6AA-18B1A2CAE2C8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Legend1" hidden="1">
              <a:extLst>
                <a:ext uri="{FF2B5EF4-FFF2-40B4-BE49-F238E27FC236}">
                  <a16:creationId xmlns:a16="http://schemas.microsoft.com/office/drawing/2014/main" id="{7D91E2B2-8DC9-4F12-B142-83A9BF5D5ED2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2" name="Legend2" hidden="1">
              <a:extLst>
                <a:ext uri="{FF2B5EF4-FFF2-40B4-BE49-F238E27FC236}">
                  <a16:creationId xmlns:a16="http://schemas.microsoft.com/office/drawing/2014/main" id="{2B7C610D-4B1E-4ACB-ADAE-9FB8FD0F5284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3" hidden="1">
              <a:extLst>
                <a:ext uri="{FF2B5EF4-FFF2-40B4-BE49-F238E27FC236}">
                  <a16:creationId xmlns:a16="http://schemas.microsoft.com/office/drawing/2014/main" id="{5B0C4CAE-7F19-43C6-9607-FFC34C462B9C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4" name="Legend4" hidden="1">
              <a:extLst>
                <a:ext uri="{FF2B5EF4-FFF2-40B4-BE49-F238E27FC236}">
                  <a16:creationId xmlns:a16="http://schemas.microsoft.com/office/drawing/2014/main" id="{CC160D62-B91F-45D8-9128-1A9BF4812370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5" hidden="1">
              <a:extLst>
                <a:ext uri="{FF2B5EF4-FFF2-40B4-BE49-F238E27FC236}">
                  <a16:creationId xmlns:a16="http://schemas.microsoft.com/office/drawing/2014/main" id="{48E1CC69-A6F1-4660-870F-73427B6E34A2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6" name="LegendLines" hidden="1">
            <a:extLst>
              <a:ext uri="{FF2B5EF4-FFF2-40B4-BE49-F238E27FC236}">
                <a16:creationId xmlns:a16="http://schemas.microsoft.com/office/drawing/2014/main" id="{9FA3FFAC-427D-4143-9A7F-E54BA1590CD4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7" name="Legend1" hidden="1">
              <a:extLst>
                <a:ext uri="{FF2B5EF4-FFF2-40B4-BE49-F238E27FC236}">
                  <a16:creationId xmlns:a16="http://schemas.microsoft.com/office/drawing/2014/main" id="{55156337-1E55-4D65-BF68-2813355DD3C2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8" name="Legend2" hidden="1">
              <a:extLst>
                <a:ext uri="{FF2B5EF4-FFF2-40B4-BE49-F238E27FC236}">
                  <a16:creationId xmlns:a16="http://schemas.microsoft.com/office/drawing/2014/main" id="{24A01A6A-E75B-4FCD-B18D-2EF985FA0CC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3" hidden="1">
              <a:extLst>
                <a:ext uri="{FF2B5EF4-FFF2-40B4-BE49-F238E27FC236}">
                  <a16:creationId xmlns:a16="http://schemas.microsoft.com/office/drawing/2014/main" id="{EBF41AF8-61B5-4631-A2D4-FD7A9A6C926F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ineLegend3" hidden="1">
              <a:extLst>
                <a:ext uri="{FF2B5EF4-FFF2-40B4-BE49-F238E27FC236}">
                  <a16:creationId xmlns:a16="http://schemas.microsoft.com/office/drawing/2014/main" id="{AB2B53D2-9EC4-468C-8681-745D585310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1" name="LineLegend2" hidden="1">
              <a:extLst>
                <a:ext uri="{FF2B5EF4-FFF2-40B4-BE49-F238E27FC236}">
                  <a16:creationId xmlns:a16="http://schemas.microsoft.com/office/drawing/2014/main" id="{9D830110-5F4D-4672-8031-717611DC9D7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1" hidden="1">
              <a:extLst>
                <a:ext uri="{FF2B5EF4-FFF2-40B4-BE49-F238E27FC236}">
                  <a16:creationId xmlns:a16="http://schemas.microsoft.com/office/drawing/2014/main" id="{6CA46113-ACD9-4D67-94AF-08B4ADC907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3" name="LegendMoons" hidden="1">
            <a:extLst>
              <a:ext uri="{FF2B5EF4-FFF2-40B4-BE49-F238E27FC236}">
                <a16:creationId xmlns:a16="http://schemas.microsoft.com/office/drawing/2014/main" id="{5D2B9EC5-6516-4E04-9C05-9531146BAA4E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4" name="Legend1" hidden="1">
              <a:extLst>
                <a:ext uri="{FF2B5EF4-FFF2-40B4-BE49-F238E27FC236}">
                  <a16:creationId xmlns:a16="http://schemas.microsoft.com/office/drawing/2014/main" id="{8EA1A325-6C27-465E-A0C7-72F1D54AE28D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5" name="Legend2" hidden="1">
              <a:extLst>
                <a:ext uri="{FF2B5EF4-FFF2-40B4-BE49-F238E27FC236}">
                  <a16:creationId xmlns:a16="http://schemas.microsoft.com/office/drawing/2014/main" id="{3B9DEFDA-AD98-42B5-A7AB-D248B91F916A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3" hidden="1">
              <a:extLst>
                <a:ext uri="{FF2B5EF4-FFF2-40B4-BE49-F238E27FC236}">
                  <a16:creationId xmlns:a16="http://schemas.microsoft.com/office/drawing/2014/main" id="{469F9D96-94A7-46E2-B902-145C5F780AC8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4" hidden="1">
              <a:extLst>
                <a:ext uri="{FF2B5EF4-FFF2-40B4-BE49-F238E27FC236}">
                  <a16:creationId xmlns:a16="http://schemas.microsoft.com/office/drawing/2014/main" id="{B808E7EB-1517-49D7-9D84-821519BDDFB4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8" name="Legend5" hidden="1">
              <a:extLst>
                <a:ext uri="{FF2B5EF4-FFF2-40B4-BE49-F238E27FC236}">
                  <a16:creationId xmlns:a16="http://schemas.microsoft.com/office/drawing/2014/main" id="{33A40E36-BDCE-45A6-9847-F22350B47D55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8" name="MoonLegend1" hidden="1">
              <a:extLst>
                <a:ext uri="{FF2B5EF4-FFF2-40B4-BE49-F238E27FC236}">
                  <a16:creationId xmlns:a16="http://schemas.microsoft.com/office/drawing/2014/main" id="{E0D8B767-4790-440C-B1EF-4F552057CBB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87BDFF71-16BD-40CA-9518-16786F019E6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C2618CFB-77C6-41D7-BD86-1EC3AB03DF1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9" name="MoonLegend2" hidden="1">
              <a:extLst>
                <a:ext uri="{FF2B5EF4-FFF2-40B4-BE49-F238E27FC236}">
                  <a16:creationId xmlns:a16="http://schemas.microsoft.com/office/drawing/2014/main" id="{88CB365A-ABF1-4058-8303-D8C9B8EED64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69AC0075-DBC1-4E43-9252-841BD1541DA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AAE0C734-2DF2-4B20-B479-B78CA312F4A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0" name="MoonLegend3" hidden="1">
              <a:extLst>
                <a:ext uri="{FF2B5EF4-FFF2-40B4-BE49-F238E27FC236}">
                  <a16:creationId xmlns:a16="http://schemas.microsoft.com/office/drawing/2014/main" id="{65D143B2-15FD-42EB-B009-0366645971F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4D34E1FC-A9A9-49F4-834D-1B863D6AC5E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18255A57-ED55-4741-AF9C-9CF970A37EE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4" hidden="1">
              <a:extLst>
                <a:ext uri="{FF2B5EF4-FFF2-40B4-BE49-F238E27FC236}">
                  <a16:creationId xmlns:a16="http://schemas.microsoft.com/office/drawing/2014/main" id="{8132AE5D-1918-4192-8780-BDED96395A25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0CF915DA-904C-4044-A93C-713337C9FE96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195E7B45-FE0F-435C-8B3B-746B867852D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5" hidden="1">
              <a:extLst>
                <a:ext uri="{FF2B5EF4-FFF2-40B4-BE49-F238E27FC236}">
                  <a16:creationId xmlns:a16="http://schemas.microsoft.com/office/drawing/2014/main" id="{F815AB8C-A99F-4133-B3C0-18EDFCBBCCA4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1E4EB777-66DC-428D-8FF0-CFAA8A4E386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537D7B90-872F-435F-AA05-A885BC8ED5F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pic>
        <p:nvPicPr>
          <p:cNvPr id="223" name="Picture 222">
            <a:extLst>
              <a:ext uri="{FF2B5EF4-FFF2-40B4-BE49-F238E27FC236}">
                <a16:creationId xmlns:a16="http://schemas.microsoft.com/office/drawing/2014/main" id="{B2818564-823A-49C7-ABAF-8F3B458136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pic>
        <p:nvPicPr>
          <p:cNvPr id="224" name="Picture 223">
            <a:extLst>
              <a:ext uri="{FF2B5EF4-FFF2-40B4-BE49-F238E27FC236}">
                <a16:creationId xmlns:a16="http://schemas.microsoft.com/office/drawing/2014/main" id="{A140FA23-B666-4125-BD9D-C28D93715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grpSp>
        <p:nvGrpSpPr>
          <p:cNvPr id="227" name="Group 226">
            <a:extLst>
              <a:ext uri="{FF2B5EF4-FFF2-40B4-BE49-F238E27FC236}">
                <a16:creationId xmlns:a16="http://schemas.microsoft.com/office/drawing/2014/main" id="{B947B480-E607-4072-BA59-D0799873EF44}"/>
              </a:ext>
            </a:extLst>
          </p:cNvPr>
          <p:cNvGrpSpPr/>
          <p:nvPr userDrawn="1"/>
        </p:nvGrpSpPr>
        <p:grpSpPr>
          <a:xfrm>
            <a:off x="554736" y="6586304"/>
            <a:ext cx="1669586" cy="261606"/>
            <a:chOff x="264321" y="6586304"/>
            <a:chExt cx="1669586" cy="261606"/>
          </a:xfrm>
        </p:grpSpPr>
        <p:pic>
          <p:nvPicPr>
            <p:cNvPr id="228" name="Picture 227">
              <a:extLst>
                <a:ext uri="{FF2B5EF4-FFF2-40B4-BE49-F238E27FC236}">
                  <a16:creationId xmlns:a16="http://schemas.microsoft.com/office/drawing/2014/main" id="{FF613BF4-1190-474D-BD7F-8692411C2A7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264321" y="6600934"/>
              <a:ext cx="893483" cy="200905"/>
            </a:xfrm>
            <a:prstGeom prst="rect">
              <a:avLst/>
            </a:prstGeom>
          </p:spPr>
        </p:pic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126C9E35-A064-4C76-8C50-ACD5BFE4A1CC}"/>
                </a:ext>
              </a:extLst>
            </p:cNvPr>
            <p:cNvSpPr txBox="1"/>
            <p:nvPr userDrawn="1"/>
          </p:nvSpPr>
          <p:spPr>
            <a:xfrm>
              <a:off x="1043932" y="6586304"/>
              <a:ext cx="889975" cy="261606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r>
                <a:rPr lang="en-US" sz="1100" b="1" spc="400" dirty="0">
                  <a:solidFill>
                    <a:srgbClr val="78B9E7"/>
                  </a:solidFill>
                  <a:latin typeface="Arial" panose="020B0604020202020204" pitchFamily="34" charset="0"/>
                  <a:sym typeface="Arial" panose="020B0604020202020204" pitchFamily="34" charset="0"/>
                </a:rPr>
                <a:t>CHINA</a:t>
              </a:r>
            </a:p>
          </p:txBody>
        </p:sp>
      </p:grpSp>
      <p:sp>
        <p:nvSpPr>
          <p:cNvPr id="230" name="object 33">
            <a:extLst>
              <a:ext uri="{FF2B5EF4-FFF2-40B4-BE49-F238E27FC236}">
                <a16:creationId xmlns:a16="http://schemas.microsoft.com/office/drawing/2014/main" id="{DC7FD644-12C1-42D4-9A3F-261A3A5B3EE4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231" name="Slide Number">
            <a:extLst>
              <a:ext uri="{FF2B5EF4-FFF2-40B4-BE49-F238E27FC236}">
                <a16:creationId xmlns:a16="http://schemas.microsoft.com/office/drawing/2014/main" id="{5DB41750-7CCE-4D50-B7E9-CA1E1BAF39FE}"/>
              </a:ext>
            </a:extLst>
          </p:cNvPr>
          <p:cNvSpPr>
            <a:spLocks noChangeArrowheads="1"/>
          </p:cNvSpPr>
          <p:nvPr userDrawn="1">
            <p:custDataLst>
              <p:tags r:id="rId20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33" name="4. Footnote" hidden="1">
            <a:extLst>
              <a:ext uri="{FF2B5EF4-FFF2-40B4-BE49-F238E27FC236}">
                <a16:creationId xmlns:a16="http://schemas.microsoft.com/office/drawing/2014/main" id="{855E4F5D-FDE3-4E33-86CA-81D04286BCDE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0895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234" name="Sticker" hidden="1">
            <a:extLst>
              <a:ext uri="{FF2B5EF4-FFF2-40B4-BE49-F238E27FC236}">
                <a16:creationId xmlns:a16="http://schemas.microsoft.com/office/drawing/2014/main" id="{12A6E324-7D5B-42C1-966C-DBB60D205E9C}"/>
              </a:ext>
            </a:extLst>
          </p:cNvPr>
          <p:cNvSpPr txBox="1"/>
          <p:nvPr userDrawn="1"/>
        </p:nvSpPr>
        <p:spPr>
          <a:xfrm>
            <a:off x="554736" y="983871"/>
            <a:ext cx="326852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15336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0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0616589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2293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736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69945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5AE4107-EA96-483A-99B1-29CD62D9D8E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D5FA3849-55F8-4739-A7B2-892D4C5FAAEC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888599B1-B2EA-4E6A-9671-1BA58E91F13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428F56D7-9207-4D52-B33E-487D22300AC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ABDBED23-AA6E-4D9E-B00E-830E9E2474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DC07F705-9A87-43E0-B5D4-E29DE1FAFA7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640DD069-F023-41A5-8377-768CEDF60C3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69CD7AC-0E78-4DF5-887B-05F2FE2EE93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6D9CACB-5A4A-4C9E-A385-CEBD0D468360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5706C2B0-8E43-499B-ACF8-00C0B83EE53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37EDC57D-DC7A-4B2F-B34E-286D1E243845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8CDEB5C7-479D-42E2-90FD-E538078F60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823B879C-9D9B-4EFF-8995-A875404D8B7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1DBA6106-F4EF-407A-8AE2-AC2D277D5F94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61A8CAA6-5BB3-4B77-B477-E8CE44A446B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D820C6A0-47F5-48EA-8F10-6CCFC604CD7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3AEF681C-B511-4EA6-AEE0-42454FF74304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EE33F743-9093-4066-BCEE-DD4B04C17B9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46E3E6D2-3BC7-4337-8542-96B188067D2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7B178535-85FA-4161-8D03-A34C70D8242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EA9307AD-5D8F-487A-9F3E-93DDAD5E057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7E474A9B-FE68-4B14-926B-66BA9A1A9C4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EF68E8A9-1437-457B-838D-3DD76DFC664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F20F2584-B351-45F7-BDD4-07089B7B7550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E7277BEA-BE34-4BAF-BD2D-6B3AA281F7FE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422D048B-8720-4B6F-BCAA-A6987DF3379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9012BF02-CEBF-4BD6-B2B4-9A88378FA10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BF854605-7A17-4E2E-A8CC-5ED10F0AFF2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EF67411-5BB7-4C2A-A70B-F824E6A5863A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349D9E77-A759-4C40-B246-B44BF22AF6D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4582B5AB-076C-4E52-BA0B-C1341B84CB7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AE8FD99E-8511-4E74-B720-7148EB5B0D3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D73715A8-D3F2-4D1B-85DA-2F4E218EBCF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B88CEAE5-F563-445D-AA1E-A0BF452C37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A92F8D50-CD7C-44B0-A46F-E78CCC883180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BFD0049D-B3A5-4C13-AB3C-39D353CF0CC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8A952162-6991-430C-A21C-2149020DB868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29358FF5-2A7E-4EC6-A90A-69FBDD956B4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3D3C825E-4D25-42F0-B002-251E7942ED37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15940A66-3FE2-4F63-999E-76151CA38BFF}"/>
              </a:ext>
            </a:extLst>
          </p:cNvPr>
          <p:cNvGrpSpPr/>
          <p:nvPr userDrawn="1"/>
        </p:nvGrpSpPr>
        <p:grpSpPr bwMode="ltGray">
          <a:xfrm>
            <a:off x="11376177" y="-65554"/>
            <a:ext cx="609448" cy="758751"/>
            <a:chOff x="8383665" y="-76199"/>
            <a:chExt cx="605554" cy="753902"/>
          </a:xfrm>
        </p:grpSpPr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4386AAC7-E873-403C-AF8F-2EFC83D213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8383665" y="-76199"/>
              <a:ext cx="605554" cy="753902"/>
            </a:xfrm>
            <a:prstGeom prst="rect">
              <a:avLst/>
            </a:prstGeom>
          </p:spPr>
        </p:pic>
        <p:pic>
          <p:nvPicPr>
            <p:cNvPr id="150" name="Picture 149">
              <a:extLst>
                <a:ext uri="{FF2B5EF4-FFF2-40B4-BE49-F238E27FC236}">
                  <a16:creationId xmlns:a16="http://schemas.microsoft.com/office/drawing/2014/main" id="{4F480ADF-C7A7-483D-9B6A-30E4824306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ltGray">
            <a:xfrm>
              <a:off x="8488415" y="78871"/>
              <a:ext cx="396055" cy="443762"/>
            </a:xfrm>
            <a:prstGeom prst="rect">
              <a:avLst/>
            </a:prstGeom>
          </p:spPr>
        </p:pic>
      </p:grpSp>
      <p:sp>
        <p:nvSpPr>
          <p:cNvPr id="151" name="TextBox 150">
            <a:extLst>
              <a:ext uri="{FF2B5EF4-FFF2-40B4-BE49-F238E27FC236}">
                <a16:creationId xmlns:a16="http://schemas.microsoft.com/office/drawing/2014/main" id="{4EE6BAB0-EC96-4552-8694-8E2099DBDE9B}"/>
              </a:ext>
            </a:extLst>
          </p:cNvPr>
          <p:cNvSpPr txBox="1"/>
          <p:nvPr userDrawn="1"/>
        </p:nvSpPr>
        <p:spPr>
          <a:xfrm>
            <a:off x="11049471" y="6665944"/>
            <a:ext cx="936154" cy="1384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4646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6" r:id="rId12"/>
    <p:sldLayoutId id="2147483907" r:id="rId13"/>
    <p:sldLayoutId id="2147483908" r:id="rId14"/>
    <p:sldLayoutId id="2147483909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681514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7536" y="1980016"/>
            <a:ext cx="195887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Last Modified 6/18/2021 1：34 PM China Standard Time</a:t>
            </a:r>
            <a:endParaRPr lang="fr-FR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82457" y="4197996"/>
            <a:ext cx="182902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05/02/2018 22：51 Romance Standard Time</a:t>
            </a:r>
            <a:endParaRPr lang="fr-FR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fr-FR"/>
              <a:t>Click to edit Master title style</a:t>
            </a:r>
            <a:endParaRPr lang="fr-FR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fr-FR" sz="816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fr-FR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  <a:endParaRPr lang="fr-FR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61985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fr-FR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  <a:endParaRPr lang="fr-FR" sz="816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fr-FR" sz="816" baseline="0">
                  <a:solidFill>
                    <a:srgbClr val="808080"/>
                  </a:solidFill>
                  <a:latin typeface="+mn-lt"/>
                  <a:ea typeface="+mn-ea"/>
                </a:rPr>
                <a:t>SOURCE ： Source</a:t>
              </a:r>
              <a:endParaRPr lang="fr-FR" sz="816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2198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fr-FR"/>
              <a:t>Text</a:t>
            </a:r>
            <a:endParaRPr lang="fr-F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837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fr-FR" sz="1837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fr-FR" sz="1837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fr-FR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fr-FR" sz="816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/>
            <a:endParaRPr lang="fr-FR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349675" y="285075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677744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3" name="Rectangle 62"/>
          <p:cNvSpPr/>
          <p:nvPr/>
        </p:nvSpPr>
        <p:spPr>
          <a:xfrm rot="5400000">
            <a:off x="8816459" y="3229224"/>
            <a:ext cx="6499845" cy="18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12" kern="1200" dirty="0">
                <a:solidFill>
                  <a:schemeClr val="accent6"/>
                </a:solidFill>
                <a:effectLst/>
                <a:latin typeface="Arial" charset="0"/>
                <a:ea typeface="+mn-ea"/>
                <a:cs typeface="+mn-cs"/>
              </a:rPr>
              <a:t>Document de travail, sous réserve de validation par le Comité Exécutif et de présentation aux instances représentatives du personnel </a:t>
            </a:r>
            <a:endParaRPr lang="fr-FR" sz="102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9118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0207145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7536" y="1980016"/>
            <a:ext cx="195887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Last Modified 6/18/2021 1：34 PM China Standard Time</a:t>
            </a:r>
            <a:endParaRPr lang="fr-FR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82457" y="4197996"/>
            <a:ext cx="182902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05/02/2018 22：51 Romance Standard Time</a:t>
            </a:r>
            <a:endParaRPr lang="fr-FR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fr-FR"/>
              <a:t>Click to edit Master title style</a:t>
            </a:r>
            <a:endParaRPr lang="fr-FR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fr-FR" sz="816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fr-FR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  <a:endParaRPr lang="fr-FR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61985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fr-FR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  <a:endParaRPr lang="fr-FR" sz="816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fr-FR" sz="816" baseline="0">
                  <a:solidFill>
                    <a:srgbClr val="808080"/>
                  </a:solidFill>
                  <a:latin typeface="+mn-lt"/>
                  <a:ea typeface="+mn-ea"/>
                </a:rPr>
                <a:t>SOURCE ： Source</a:t>
              </a:r>
              <a:endParaRPr lang="fr-FR" sz="816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2198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fr-FR"/>
              <a:t>Text</a:t>
            </a:r>
            <a:endParaRPr lang="fr-F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837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fr-FR" sz="1837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fr-FR" sz="1837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fr-FR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fr-FR" sz="816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/>
            <a:endParaRPr lang="fr-FR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349675" y="285075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677744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3" name="Rectangle 62"/>
          <p:cNvSpPr/>
          <p:nvPr/>
        </p:nvSpPr>
        <p:spPr>
          <a:xfrm rot="5400000">
            <a:off x="8816459" y="3229224"/>
            <a:ext cx="6499845" cy="18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12" kern="1200" dirty="0">
                <a:solidFill>
                  <a:schemeClr val="accent6"/>
                </a:solidFill>
                <a:effectLst/>
                <a:latin typeface="Arial" charset="0"/>
                <a:ea typeface="+mn-ea"/>
                <a:cs typeface="+mn-cs"/>
              </a:rPr>
              <a:t>Document de travail, sous réserve de validation par le Comité Exécutif et de présentation aux instances représentatives du personnel </a:t>
            </a:r>
            <a:endParaRPr lang="fr-FR" sz="102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9292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2172684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7536" y="1980016"/>
            <a:ext cx="195887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Last Modified 6/18/2021 1：34 PM China Standard Time</a:t>
            </a:r>
            <a:endParaRPr lang="fr-FR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82457" y="4197996"/>
            <a:ext cx="182902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05/02/2018 22：51 Romance Standard Time</a:t>
            </a:r>
            <a:endParaRPr lang="fr-FR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fr-FR"/>
              <a:t>Click to edit Master title style</a:t>
            </a:r>
            <a:endParaRPr lang="fr-FR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fr-FR" sz="816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fr-FR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  <a:endParaRPr lang="fr-FR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61985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fr-FR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  <a:endParaRPr lang="fr-FR" sz="816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fr-FR" sz="816" baseline="0">
                  <a:solidFill>
                    <a:srgbClr val="808080"/>
                  </a:solidFill>
                  <a:latin typeface="+mn-lt"/>
                  <a:ea typeface="+mn-ea"/>
                </a:rPr>
                <a:t>SOURCE ： Source</a:t>
              </a:r>
              <a:endParaRPr lang="fr-FR" sz="816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2198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fr-FR"/>
              <a:t>Text</a:t>
            </a:r>
            <a:endParaRPr lang="fr-F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837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fr-FR" sz="1837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fr-FR" sz="1837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fr-FR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fr-FR" sz="816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/>
            <a:endParaRPr lang="fr-FR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349675" y="285075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677744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3" name="Rectangle 62"/>
          <p:cNvSpPr/>
          <p:nvPr/>
        </p:nvSpPr>
        <p:spPr>
          <a:xfrm rot="5400000">
            <a:off x="8816459" y="3229224"/>
            <a:ext cx="6499845" cy="18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12" kern="1200" dirty="0">
                <a:solidFill>
                  <a:schemeClr val="accent6"/>
                </a:solidFill>
                <a:effectLst/>
                <a:latin typeface="Arial" charset="0"/>
                <a:ea typeface="+mn-ea"/>
                <a:cs typeface="+mn-cs"/>
              </a:rPr>
              <a:t>Document de travail, sous réserve de validation par le Comité Exécutif et de présentation aux instances représentatives du personnel </a:t>
            </a:r>
            <a:endParaRPr lang="fr-FR" sz="102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7779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72537130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17536" y="1980016"/>
            <a:ext cx="195887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Last Modified 6/18/2021 1：34 PM China Standard Time</a:t>
            </a:r>
            <a:endParaRPr lang="fr-FR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82457" y="4197996"/>
            <a:ext cx="182902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05/02/2018 22：51 Romance Standard Time</a:t>
            </a:r>
            <a:endParaRPr lang="fr-FR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fr-FR"/>
              <a:t>Click to edit Master title style</a:t>
            </a:r>
            <a:endParaRPr lang="fr-FR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fr-FR" sz="816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fr-FR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  <a:endParaRPr lang="fr-FR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61985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fr-FR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  <a:endParaRPr lang="fr-FR" sz="816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fr-FR" sz="816" baseline="0">
                  <a:solidFill>
                    <a:srgbClr val="808080"/>
                  </a:solidFill>
                  <a:latin typeface="+mn-lt"/>
                  <a:ea typeface="+mn-ea"/>
                </a:rPr>
                <a:t>SOURCE ： Source</a:t>
              </a:r>
              <a:endParaRPr lang="fr-FR" sz="816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2198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fr-FR"/>
              <a:t>Text</a:t>
            </a:r>
            <a:endParaRPr lang="fr-F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837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fr-FR" sz="1837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fr-FR" sz="1837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fr-FR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fr-FR" sz="816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/>
            <a:endParaRPr lang="fr-FR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349675" y="285075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fr-FR" sz="1837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677744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fr-FR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fr-FR" sz="1224" baseline="0">
                  <a:latin typeface="+mn-lt"/>
                  <a:ea typeface="+mn-ea"/>
                </a:rPr>
                <a:t>Legend</a:t>
              </a:r>
              <a:endParaRPr lang="fr-FR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3" name="Rectangle 62"/>
          <p:cNvSpPr/>
          <p:nvPr/>
        </p:nvSpPr>
        <p:spPr>
          <a:xfrm rot="5400000">
            <a:off x="8816459" y="3229224"/>
            <a:ext cx="6499845" cy="18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612" kern="1200" dirty="0">
                <a:solidFill>
                  <a:schemeClr val="accent6"/>
                </a:solidFill>
                <a:effectLst/>
                <a:latin typeface="Arial" charset="0"/>
                <a:ea typeface="+mn-ea"/>
                <a:cs typeface="+mn-cs"/>
              </a:rPr>
              <a:t>Document de travail, sous réserve de validation par le Comité Exécutif et de présentation aux instances représentatives du personnel </a:t>
            </a:r>
            <a:endParaRPr lang="fr-FR" sz="102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9409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1518179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17537" y="1980016"/>
            <a:ext cx="195887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Last Modified 6/18/2021 1：34 PM Chin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164023" y="4197996"/>
            <a:ext cx="1865895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05.09.2017 17：04 W. Europe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5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43032" algn="l"/>
                </a:tabLst>
              </a:pPr>
              <a:r>
                <a:rPr lang="en-US" sz="816" baseline="0">
                  <a:solidFill>
                    <a:schemeClr val="accent6"/>
                  </a:solidFill>
                  <a:latin typeface="+mn-lt"/>
                  <a:ea typeface="+mn-ea"/>
                </a:rPr>
                <a:t>SOURCE： </a:t>
              </a: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75" y="285075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44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18817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5335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6" name="Picture 225">
            <a:extLst>
              <a:ext uri="{FF2B5EF4-FFF2-40B4-BE49-F238E27FC236}">
                <a16:creationId xmlns:a16="http://schemas.microsoft.com/office/drawing/2014/main" id="{60AA2E3F-2FF8-489E-8F9C-443CF754D5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327" b="20727"/>
          <a:stretch/>
        </p:blipFill>
        <p:spPr>
          <a:xfrm>
            <a:off x="7732065" y="398090"/>
            <a:ext cx="4490103" cy="6145319"/>
          </a:xfrm>
          <a:prstGeom prst="rect">
            <a:avLst/>
          </a:prstGeom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56E4EA0E-41D0-4F42-8EB7-DC21405E10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537437"/>
            <a:ext cx="12192000" cy="341587"/>
          </a:xfrm>
          <a:prstGeom prst="rect">
            <a:avLst/>
          </a:prstGeom>
        </p:spPr>
      </p:pic>
      <p:pic>
        <p:nvPicPr>
          <p:cNvPr id="231" name="Picture 230">
            <a:extLst>
              <a:ext uri="{FF2B5EF4-FFF2-40B4-BE49-F238E27FC236}">
                <a16:creationId xmlns:a16="http://schemas.microsoft.com/office/drawing/2014/main" id="{A1EEF883-9C2E-4C34-994F-3AF32FA595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24" r="23747"/>
          <a:stretch/>
        </p:blipFill>
        <p:spPr>
          <a:xfrm>
            <a:off x="11414126" y="184727"/>
            <a:ext cx="593148" cy="60267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39CF6D16-8EDF-4838-8129-FB67666A8D1E}"/>
              </a:ext>
            </a:extLst>
          </p:cNvPr>
          <p:cNvGrpSpPr/>
          <p:nvPr userDrawn="1"/>
        </p:nvGrpSpPr>
        <p:grpSpPr>
          <a:xfrm>
            <a:off x="554736" y="6586304"/>
            <a:ext cx="1669586" cy="261606"/>
            <a:chOff x="264321" y="6586304"/>
            <a:chExt cx="1669586" cy="261606"/>
          </a:xfrm>
        </p:grpSpPr>
        <p:pic>
          <p:nvPicPr>
            <p:cNvPr id="230" name="Picture 229">
              <a:extLst>
                <a:ext uri="{FF2B5EF4-FFF2-40B4-BE49-F238E27FC236}">
                  <a16:creationId xmlns:a16="http://schemas.microsoft.com/office/drawing/2014/main" id="{B34D8C3B-1A1F-494F-AB08-521AADD1BF2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7330" b="-1"/>
            <a:stretch/>
          </p:blipFill>
          <p:spPr>
            <a:xfrm>
              <a:off x="264321" y="6600934"/>
              <a:ext cx="893483" cy="200905"/>
            </a:xfrm>
            <a:prstGeom prst="rect">
              <a:avLst/>
            </a:prstGeom>
          </p:spPr>
        </p:pic>
        <p:sp>
          <p:nvSpPr>
            <p:cNvPr id="232" name="TextBox 231">
              <a:extLst>
                <a:ext uri="{FF2B5EF4-FFF2-40B4-BE49-F238E27FC236}">
                  <a16:creationId xmlns:a16="http://schemas.microsoft.com/office/drawing/2014/main" id="{BEDE3E5E-7056-41F3-9764-4D7373CD103A}"/>
                </a:ext>
              </a:extLst>
            </p:cNvPr>
            <p:cNvSpPr txBox="1"/>
            <p:nvPr userDrawn="1"/>
          </p:nvSpPr>
          <p:spPr>
            <a:xfrm>
              <a:off x="1043932" y="6586304"/>
              <a:ext cx="889975" cy="261606"/>
            </a:xfrm>
            <a:prstGeom prst="rect">
              <a:avLst/>
            </a:prstGeom>
            <a:noFill/>
          </p:spPr>
          <p:txBody>
            <a:bodyPr wrap="none" lIns="91434" tIns="45718" rIns="91434" bIns="45718" rtlCol="0">
              <a:spAutoFit/>
            </a:bodyPr>
            <a:lstStyle/>
            <a:p>
              <a:r>
                <a:rPr lang="en-US" sz="1100" b="1" spc="400" dirty="0">
                  <a:solidFill>
                    <a:srgbClr val="78B9E7"/>
                  </a:solidFill>
                  <a:latin typeface="Arial" panose="020B0604020202020204" pitchFamily="34" charset="0"/>
                  <a:sym typeface="Arial" panose="020B0604020202020204" pitchFamily="34" charset="0"/>
                </a:rPr>
                <a:t>CHINA</a:t>
              </a:r>
            </a:p>
          </p:txBody>
        </p:sp>
      </p:grpSp>
      <p:sp>
        <p:nvSpPr>
          <p:cNvPr id="233" name="object 33">
            <a:extLst>
              <a:ext uri="{FF2B5EF4-FFF2-40B4-BE49-F238E27FC236}">
                <a16:creationId xmlns:a16="http://schemas.microsoft.com/office/drawing/2014/main" id="{BDD3D993-A16A-4AA0-AD73-00A0D2E834DF}"/>
              </a:ext>
            </a:extLst>
          </p:cNvPr>
          <p:cNvSpPr txBox="1">
            <a:spLocks/>
          </p:cNvSpPr>
          <p:nvPr userDrawn="1"/>
        </p:nvSpPr>
        <p:spPr>
          <a:xfrm>
            <a:off x="4160347" y="6645837"/>
            <a:ext cx="3871307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78B9E7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44" algn="ctr"/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© 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0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21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37" dirty="0">
                <a:latin typeface="Arial" panose="020B0604020202020204" pitchFamily="34" charset="0"/>
                <a:sym typeface="Arial" panose="020B0604020202020204" pitchFamily="34" charset="0"/>
              </a:rPr>
              <a:t>W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lm</a:t>
            </a:r>
            <a:r>
              <a:rPr lang="en-US" b="1" spc="-23" dirty="0">
                <a:latin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r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t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tional  | 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C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fide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ial  |  </a:t>
            </a:r>
            <a:r>
              <a:rPr lang="en-US" b="1" spc="-15" dirty="0">
                <a:latin typeface="Arial" panose="020B0604020202020204" pitchFamily="34" charset="0"/>
                <a:sym typeface="Arial" panose="020B0604020202020204" pitchFamily="34" charset="0"/>
              </a:rPr>
              <a:t>F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or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I</a:t>
            </a:r>
            <a:r>
              <a:rPr lang="en-US" b="1" spc="-3" dirty="0">
                <a:latin typeface="Arial" panose="020B0604020202020204" pitchFamily="34" charset="0"/>
                <a:sym typeface="Arial" panose="020B0604020202020204" pitchFamily="34" charset="0"/>
              </a:rPr>
              <a:t>n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ternal </a:t>
            </a:r>
            <a:r>
              <a:rPr lang="en-US" b="1" spc="-11" dirty="0">
                <a:latin typeface="Arial" panose="020B0604020202020204" pitchFamily="34" charset="0"/>
                <a:sym typeface="Arial" panose="020B0604020202020204" pitchFamily="34" charset="0"/>
              </a:rPr>
              <a:t>U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se </a:t>
            </a:r>
            <a:r>
              <a:rPr lang="en-US" b="1" spc="-7" dirty="0">
                <a:latin typeface="Arial" panose="020B0604020202020204" pitchFamily="34" charset="0"/>
                <a:sym typeface="Arial" panose="020B0604020202020204" pitchFamily="34" charset="0"/>
              </a:rPr>
              <a:t>O</a:t>
            </a:r>
            <a:r>
              <a:rPr lang="en-US" b="1" dirty="0">
                <a:latin typeface="Arial" panose="020B0604020202020204" pitchFamily="34" charset="0"/>
                <a:sym typeface="Arial" panose="020B0604020202020204" pitchFamily="34" charset="0"/>
              </a:rPr>
              <a:t>nl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0895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 userDrawn="1">
            <p:ph type="title"/>
            <p:custDataLst>
              <p:tags r:id="rId19"/>
            </p:custDataLst>
          </p:nvPr>
        </p:nvSpPr>
        <p:spPr>
          <a:xfrm>
            <a:off x="554736" y="293703"/>
            <a:ext cx="10696224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83871"/>
            <a:ext cx="3268523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D523A8DE-548C-415C-A4FE-150F43151F8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ACF21274-EE2F-4773-8112-9F173D5566A6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0" name="Legend2" hidden="1">
              <a:extLst>
                <a:ext uri="{FF2B5EF4-FFF2-40B4-BE49-F238E27FC236}">
                  <a16:creationId xmlns:a16="http://schemas.microsoft.com/office/drawing/2014/main" id="{4FE068AA-5DFE-4CC4-9231-3F017633B4BB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3" hidden="1">
              <a:extLst>
                <a:ext uri="{FF2B5EF4-FFF2-40B4-BE49-F238E27FC236}">
                  <a16:creationId xmlns:a16="http://schemas.microsoft.com/office/drawing/2014/main" id="{E5D64515-EEE3-44D8-A02D-46FF1891AEE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ineLegend3" hidden="1">
              <a:extLst>
                <a:ext uri="{FF2B5EF4-FFF2-40B4-BE49-F238E27FC236}">
                  <a16:creationId xmlns:a16="http://schemas.microsoft.com/office/drawing/2014/main" id="{16F31021-EBA9-48DB-83C9-DF455A4656B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3" name="LineLegend2" hidden="1">
              <a:extLst>
                <a:ext uri="{FF2B5EF4-FFF2-40B4-BE49-F238E27FC236}">
                  <a16:creationId xmlns:a16="http://schemas.microsoft.com/office/drawing/2014/main" id="{942F70E2-D1CE-4CCD-99D3-D927E2CA2BA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4" name="LineLegend1" hidden="1">
              <a:extLst>
                <a:ext uri="{FF2B5EF4-FFF2-40B4-BE49-F238E27FC236}">
                  <a16:creationId xmlns:a16="http://schemas.microsoft.com/office/drawing/2014/main" id="{39A2F502-C053-4E29-B32C-24D67DBF950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5" name="LegendMoons" hidden="1">
            <a:extLst>
              <a:ext uri="{FF2B5EF4-FFF2-40B4-BE49-F238E27FC236}">
                <a16:creationId xmlns:a16="http://schemas.microsoft.com/office/drawing/2014/main" id="{01B184D2-A7E6-4AA3-9D1A-4F559BA7D15C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6" name="Legend1" hidden="1">
              <a:extLst>
                <a:ext uri="{FF2B5EF4-FFF2-40B4-BE49-F238E27FC236}">
                  <a16:creationId xmlns:a16="http://schemas.microsoft.com/office/drawing/2014/main" id="{0ACCF0B0-2C44-4E41-9539-14588772856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7" name="Legend2" hidden="1">
              <a:extLst>
                <a:ext uri="{FF2B5EF4-FFF2-40B4-BE49-F238E27FC236}">
                  <a16:creationId xmlns:a16="http://schemas.microsoft.com/office/drawing/2014/main" id="{1FD68768-5920-4E0D-8E5E-0B9E550903F5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8" name="Legend3" hidden="1">
              <a:extLst>
                <a:ext uri="{FF2B5EF4-FFF2-40B4-BE49-F238E27FC236}">
                  <a16:creationId xmlns:a16="http://schemas.microsoft.com/office/drawing/2014/main" id="{1B1EA28E-E082-4508-9751-A3ED1CB068DF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4" hidden="1">
              <a:extLst>
                <a:ext uri="{FF2B5EF4-FFF2-40B4-BE49-F238E27FC236}">
                  <a16:creationId xmlns:a16="http://schemas.microsoft.com/office/drawing/2014/main" id="{5EC266DC-AECD-4A1F-8D8C-ABECD917E403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5" hidden="1">
              <a:extLst>
                <a:ext uri="{FF2B5EF4-FFF2-40B4-BE49-F238E27FC236}">
                  <a16:creationId xmlns:a16="http://schemas.microsoft.com/office/drawing/2014/main" id="{12D78D95-AB42-4178-928B-EE1E8B2072C8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199" name="MoonLegend1" hidden="1">
              <a:extLst>
                <a:ext uri="{FF2B5EF4-FFF2-40B4-BE49-F238E27FC236}">
                  <a16:creationId xmlns:a16="http://schemas.microsoft.com/office/drawing/2014/main" id="{13859AF4-1399-414C-AFE9-DEED8A715A6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419B53D6-FA44-4B65-BB97-6A28C32C291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EC816BA9-023B-4A4A-948F-FF7AA3AE123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0" name="MoonLegend2" hidden="1">
              <a:extLst>
                <a:ext uri="{FF2B5EF4-FFF2-40B4-BE49-F238E27FC236}">
                  <a16:creationId xmlns:a16="http://schemas.microsoft.com/office/drawing/2014/main" id="{962F5441-E3F8-40D7-B1C6-3795883E4584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DFDF766-7DBD-440B-8B7C-FD800DF7A7A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538EEA67-EAF0-4B56-BBF9-0103CB30F4CE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1" name="MoonLegend3" hidden="1">
              <a:extLst>
                <a:ext uri="{FF2B5EF4-FFF2-40B4-BE49-F238E27FC236}">
                  <a16:creationId xmlns:a16="http://schemas.microsoft.com/office/drawing/2014/main" id="{DA7338F6-DCD6-47EF-9950-EC45949F992E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C379B70E-3854-4B29-B5DD-41BEB2040E5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38DB2C5E-A796-4D1D-BA28-DAA7C5C8C09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4" hidden="1">
              <a:extLst>
                <a:ext uri="{FF2B5EF4-FFF2-40B4-BE49-F238E27FC236}">
                  <a16:creationId xmlns:a16="http://schemas.microsoft.com/office/drawing/2014/main" id="{D4CA0E59-D048-4D58-BBA6-5551336D1AE8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3233531-68F3-447A-850E-1F73DC01B06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B2B0DCF0-EE7A-4296-814E-572AD8D8C32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5" hidden="1">
              <a:extLst>
                <a:ext uri="{FF2B5EF4-FFF2-40B4-BE49-F238E27FC236}">
                  <a16:creationId xmlns:a16="http://schemas.microsoft.com/office/drawing/2014/main" id="{F1C035F5-0AF8-46FF-9D5F-9BE2682425E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4" name="Oval 203" hidden="1">
                <a:extLst>
                  <a:ext uri="{FF2B5EF4-FFF2-40B4-BE49-F238E27FC236}">
                    <a16:creationId xmlns:a16="http://schemas.microsoft.com/office/drawing/2014/main" id="{F019ECB3-7879-40A8-80BE-CD5CE5848E6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5" name="Arc 204" hidden="1">
                <a:extLst>
                  <a:ext uri="{FF2B5EF4-FFF2-40B4-BE49-F238E27FC236}">
                    <a16:creationId xmlns:a16="http://schemas.microsoft.com/office/drawing/2014/main" id="{028CDF59-CA04-4520-870F-07FAED597B0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4" name="LegendBoxes" hidden="1">
            <a:extLst>
              <a:ext uri="{FF2B5EF4-FFF2-40B4-BE49-F238E27FC236}">
                <a16:creationId xmlns:a16="http://schemas.microsoft.com/office/drawing/2014/main" id="{17EC1783-C60C-4C2A-B809-9A47E93804CC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5" name="RectangleLegend1" hidden="1">
              <a:extLst>
                <a:ext uri="{FF2B5EF4-FFF2-40B4-BE49-F238E27FC236}">
                  <a16:creationId xmlns:a16="http://schemas.microsoft.com/office/drawing/2014/main" id="{1B3BD3F2-2161-4937-99F5-BBB608AF2DC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6" name="RectangleLegend2" hidden="1">
              <a:extLst>
                <a:ext uri="{FF2B5EF4-FFF2-40B4-BE49-F238E27FC236}">
                  <a16:creationId xmlns:a16="http://schemas.microsoft.com/office/drawing/2014/main" id="{EC246C48-B830-4362-91A6-9B9FE83D547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7" name="RectangleLegend3" hidden="1">
              <a:extLst>
                <a:ext uri="{FF2B5EF4-FFF2-40B4-BE49-F238E27FC236}">
                  <a16:creationId xmlns:a16="http://schemas.microsoft.com/office/drawing/2014/main" id="{3DA4DD24-FCA9-405C-A186-FBA38FBBBA5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4" hidden="1">
              <a:extLst>
                <a:ext uri="{FF2B5EF4-FFF2-40B4-BE49-F238E27FC236}">
                  <a16:creationId xmlns:a16="http://schemas.microsoft.com/office/drawing/2014/main" id="{54B748FF-EB15-4443-B5D9-9CADDC1AFA3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5" hidden="1">
              <a:extLst>
                <a:ext uri="{FF2B5EF4-FFF2-40B4-BE49-F238E27FC236}">
                  <a16:creationId xmlns:a16="http://schemas.microsoft.com/office/drawing/2014/main" id="{311A5636-20E7-453F-B868-55AADCB975F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Legend1" hidden="1">
              <a:extLst>
                <a:ext uri="{FF2B5EF4-FFF2-40B4-BE49-F238E27FC236}">
                  <a16:creationId xmlns:a16="http://schemas.microsoft.com/office/drawing/2014/main" id="{31E4CCBA-D989-488C-A5AE-77D2A699A8F8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1" name="Legend2" hidden="1">
              <a:extLst>
                <a:ext uri="{FF2B5EF4-FFF2-40B4-BE49-F238E27FC236}">
                  <a16:creationId xmlns:a16="http://schemas.microsoft.com/office/drawing/2014/main" id="{4361FBFD-924E-4975-9240-8BB164EB903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2" name="Legend3" hidden="1">
              <a:extLst>
                <a:ext uri="{FF2B5EF4-FFF2-40B4-BE49-F238E27FC236}">
                  <a16:creationId xmlns:a16="http://schemas.microsoft.com/office/drawing/2014/main" id="{C9DFAA95-67EC-49B9-AB18-367346028E4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4" hidden="1">
              <a:extLst>
                <a:ext uri="{FF2B5EF4-FFF2-40B4-BE49-F238E27FC236}">
                  <a16:creationId xmlns:a16="http://schemas.microsoft.com/office/drawing/2014/main" id="{0DF4FAE7-11C1-4469-B7EA-56696E3A16AE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5" hidden="1">
              <a:extLst>
                <a:ext uri="{FF2B5EF4-FFF2-40B4-BE49-F238E27FC236}">
                  <a16:creationId xmlns:a16="http://schemas.microsoft.com/office/drawing/2014/main" id="{CE1070DC-DB6B-4FA8-84FA-366A9DED9A40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sp>
        <p:nvSpPr>
          <p:cNvPr id="234" name="Slide Number">
            <a:extLst>
              <a:ext uri="{FF2B5EF4-FFF2-40B4-BE49-F238E27FC236}">
                <a16:creationId xmlns:a16="http://schemas.microsoft.com/office/drawing/2014/main" id="{6EEF9384-4D13-436A-B1C8-42022C930DE9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312525" y="663729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81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  <p:sldLayoutId id="2147483963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microsoft.com/office/2007/relationships/hdphoto" Target="../media/hdphoto2.wdp"/><Relationship Id="rId11" Type="http://schemas.microsoft.com/office/2007/relationships/hdphoto" Target="../media/hdphoto4.wdp"/><Relationship Id="rId5" Type="http://schemas.openxmlformats.org/officeDocument/2006/relationships/image" Target="../media/image28.png"/><Relationship Id="rId10" Type="http://schemas.openxmlformats.org/officeDocument/2006/relationships/image" Target="../media/image31.png"/><Relationship Id="rId4" Type="http://schemas.openxmlformats.org/officeDocument/2006/relationships/image" Target="../media/image27.png"/><Relationship Id="rId9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46.xml"/><Relationship Id="rId1" Type="http://schemas.openxmlformats.org/officeDocument/2006/relationships/tags" Target="../tags/tag54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F8FFB81C-72E3-8FED-5B63-F7CCC228D6D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4744" y="2466753"/>
            <a:ext cx="6355312" cy="4391247"/>
          </a:xfrm>
          <a:prstGeom prst="rect">
            <a:avLst/>
          </a:prstGeom>
        </p:spPr>
      </p:pic>
      <p:sp>
        <p:nvSpPr>
          <p:cNvPr id="9" name="文本占位符 8">
            <a:extLst>
              <a:ext uri="{FF2B5EF4-FFF2-40B4-BE49-F238E27FC236}">
                <a16:creationId xmlns:a16="http://schemas.microsoft.com/office/drawing/2014/main" id="{C72100A7-4035-06A5-76EB-34A27429FA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2603" y="5864586"/>
            <a:ext cx="9726795" cy="246221"/>
          </a:xfrm>
        </p:spPr>
        <p:txBody>
          <a:bodyPr/>
          <a:lstStyle/>
          <a:p>
            <a:r>
              <a:rPr lang="en-US" sz="1600" dirty="0"/>
              <a:t>2023/12/22</a:t>
            </a: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DDEE19CA-F525-C14B-732A-8C69F4F3F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602" y="993414"/>
            <a:ext cx="9726795" cy="1354217"/>
          </a:xfrm>
        </p:spPr>
        <p:txBody>
          <a:bodyPr/>
          <a:lstStyle/>
          <a:p>
            <a:r>
              <a:rPr lang="en-US" altLang="zh-CN" dirty="0"/>
              <a:t>What Happened to Digital Procurement Transformation?</a:t>
            </a:r>
          </a:p>
        </p:txBody>
      </p:sp>
    </p:spTree>
    <p:extLst>
      <p:ext uri="{BB962C8B-B14F-4D97-AF65-F5344CB8AC3E}">
        <p14:creationId xmlns:p14="http://schemas.microsoft.com/office/powerpoint/2010/main" val="34237913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B90238CB-19E9-66ED-1292-03A246DADA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077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466BD5-BB14-49F0-AEB1-E3AAE1582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igital Them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4B1CE0-F27B-4C62-B19B-FB8FCDBC6BF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1391" b="94379" l="9913" r="89942">
                        <a14:foregroundMark x1="48761" y1="11391" x2="48761" y2="11391"/>
                        <a14:foregroundMark x1="35423" y1="28402" x2="35423" y2="28402"/>
                        <a14:foregroundMark x1="22813" y1="43491" x2="22813" y2="43491"/>
                        <a14:foregroundMark x1="16691" y1="50592" x2="16691" y2="50592"/>
                        <a14:foregroundMark x1="29446" y1="69527" x2="29446" y2="69527"/>
                        <a14:foregroundMark x1="42784" y1="93787" x2="42784" y2="93787"/>
                        <a14:foregroundMark x1="55539" y1="94379" x2="55539" y2="94379"/>
                        <a14:foregroundMark x1="48761" y1="62130" x2="48761" y2="62130"/>
                        <a14:foregroundMark x1="49125" y1="45414" x2="49125" y2="45414"/>
                        <a14:foregroundMark x1="28863" y1="38609" x2="28863" y2="386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613" b="-1"/>
          <a:stretch/>
        </p:blipFill>
        <p:spPr>
          <a:xfrm>
            <a:off x="449855" y="914400"/>
            <a:ext cx="11292289" cy="5573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366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4">
            <a:extLst>
              <a:ext uri="{FF2B5EF4-FFF2-40B4-BE49-F238E27FC236}">
                <a16:creationId xmlns:a16="http://schemas.microsoft.com/office/drawing/2014/main" id="{E884832D-6A2F-4C30-BC07-EAACBDD9712B}"/>
              </a:ext>
            </a:extLst>
          </p:cNvPr>
          <p:cNvSpPr>
            <a:spLocks/>
          </p:cNvSpPr>
          <p:nvPr/>
        </p:nvSpPr>
        <p:spPr bwMode="auto">
          <a:xfrm>
            <a:off x="5770418" y="4249497"/>
            <a:ext cx="2343417" cy="1672807"/>
          </a:xfrm>
          <a:custGeom>
            <a:avLst/>
            <a:gdLst>
              <a:gd name="T0" fmla="*/ 298 w 1922"/>
              <a:gd name="T1" fmla="*/ 324 h 1419"/>
              <a:gd name="T2" fmla="*/ 0 w 1922"/>
              <a:gd name="T3" fmla="*/ 875 h 1419"/>
              <a:gd name="T4" fmla="*/ 298 w 1922"/>
              <a:gd name="T5" fmla="*/ 1419 h 1419"/>
              <a:gd name="T6" fmla="*/ 301 w 1922"/>
              <a:gd name="T7" fmla="*/ 1419 h 1419"/>
              <a:gd name="T8" fmla="*/ 364 w 1922"/>
              <a:gd name="T9" fmla="*/ 1418 h 1419"/>
              <a:gd name="T10" fmla="*/ 490 w 1922"/>
              <a:gd name="T11" fmla="*/ 1410 h 1419"/>
              <a:gd name="T12" fmla="*/ 612 w 1922"/>
              <a:gd name="T13" fmla="*/ 1394 h 1419"/>
              <a:gd name="T14" fmla="*/ 732 w 1922"/>
              <a:gd name="T15" fmla="*/ 1371 h 1419"/>
              <a:gd name="T16" fmla="*/ 849 w 1922"/>
              <a:gd name="T17" fmla="*/ 1341 h 1419"/>
              <a:gd name="T18" fmla="*/ 964 w 1922"/>
              <a:gd name="T19" fmla="*/ 1304 h 1419"/>
              <a:gd name="T20" fmla="*/ 1075 w 1922"/>
              <a:gd name="T21" fmla="*/ 1260 h 1419"/>
              <a:gd name="T22" fmla="*/ 1182 w 1922"/>
              <a:gd name="T23" fmla="*/ 1209 h 1419"/>
              <a:gd name="T24" fmla="*/ 1287 w 1922"/>
              <a:gd name="T25" fmla="*/ 1152 h 1419"/>
              <a:gd name="T26" fmla="*/ 1387 w 1922"/>
              <a:gd name="T27" fmla="*/ 1088 h 1419"/>
              <a:gd name="T28" fmla="*/ 1482 w 1922"/>
              <a:gd name="T29" fmla="*/ 1020 h 1419"/>
              <a:gd name="T30" fmla="*/ 1574 w 1922"/>
              <a:gd name="T31" fmla="*/ 946 h 1419"/>
              <a:gd name="T32" fmla="*/ 1660 w 1922"/>
              <a:gd name="T33" fmla="*/ 866 h 1419"/>
              <a:gd name="T34" fmla="*/ 1742 w 1922"/>
              <a:gd name="T35" fmla="*/ 781 h 1419"/>
              <a:gd name="T36" fmla="*/ 1819 w 1922"/>
              <a:gd name="T37" fmla="*/ 692 h 1419"/>
              <a:gd name="T38" fmla="*/ 1889 w 1922"/>
              <a:gd name="T39" fmla="*/ 597 h 1419"/>
              <a:gd name="T40" fmla="*/ 1922 w 1922"/>
              <a:gd name="T41" fmla="*/ 549 h 1419"/>
              <a:gd name="T42" fmla="*/ 1298 w 1922"/>
              <a:gd name="T43" fmla="*/ 535 h 1419"/>
              <a:gd name="T44" fmla="*/ 970 w 1922"/>
              <a:gd name="T45" fmla="*/ 0 h 1419"/>
              <a:gd name="T46" fmla="*/ 940 w 1922"/>
              <a:gd name="T47" fmla="*/ 36 h 1419"/>
              <a:gd name="T48" fmla="*/ 874 w 1922"/>
              <a:gd name="T49" fmla="*/ 103 h 1419"/>
              <a:gd name="T50" fmla="*/ 800 w 1922"/>
              <a:gd name="T51" fmla="*/ 163 h 1419"/>
              <a:gd name="T52" fmla="*/ 721 w 1922"/>
              <a:gd name="T53" fmla="*/ 214 h 1419"/>
              <a:gd name="T54" fmla="*/ 635 w 1922"/>
              <a:gd name="T55" fmla="*/ 256 h 1419"/>
              <a:gd name="T56" fmla="*/ 546 w 1922"/>
              <a:gd name="T57" fmla="*/ 289 h 1419"/>
              <a:gd name="T58" fmla="*/ 451 w 1922"/>
              <a:gd name="T59" fmla="*/ 312 h 1419"/>
              <a:gd name="T60" fmla="*/ 353 w 1922"/>
              <a:gd name="T61" fmla="*/ 324 h 1419"/>
              <a:gd name="T62" fmla="*/ 301 w 1922"/>
              <a:gd name="T63" fmla="*/ 325 h 1419"/>
              <a:gd name="T64" fmla="*/ 298 w 1922"/>
              <a:gd name="T65" fmla="*/ 324 h 1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22" h="1419">
                <a:moveTo>
                  <a:pt x="298" y="324"/>
                </a:moveTo>
                <a:lnTo>
                  <a:pt x="0" y="875"/>
                </a:lnTo>
                <a:lnTo>
                  <a:pt x="298" y="1419"/>
                </a:lnTo>
                <a:lnTo>
                  <a:pt x="301" y="1419"/>
                </a:lnTo>
                <a:lnTo>
                  <a:pt x="364" y="1418"/>
                </a:lnTo>
                <a:lnTo>
                  <a:pt x="490" y="1410"/>
                </a:lnTo>
                <a:lnTo>
                  <a:pt x="612" y="1394"/>
                </a:lnTo>
                <a:lnTo>
                  <a:pt x="732" y="1371"/>
                </a:lnTo>
                <a:lnTo>
                  <a:pt x="849" y="1341"/>
                </a:lnTo>
                <a:lnTo>
                  <a:pt x="964" y="1304"/>
                </a:lnTo>
                <a:lnTo>
                  <a:pt x="1075" y="1260"/>
                </a:lnTo>
                <a:lnTo>
                  <a:pt x="1182" y="1209"/>
                </a:lnTo>
                <a:lnTo>
                  <a:pt x="1287" y="1152"/>
                </a:lnTo>
                <a:lnTo>
                  <a:pt x="1387" y="1088"/>
                </a:lnTo>
                <a:lnTo>
                  <a:pt x="1482" y="1020"/>
                </a:lnTo>
                <a:lnTo>
                  <a:pt x="1574" y="946"/>
                </a:lnTo>
                <a:lnTo>
                  <a:pt x="1660" y="866"/>
                </a:lnTo>
                <a:lnTo>
                  <a:pt x="1742" y="781"/>
                </a:lnTo>
                <a:lnTo>
                  <a:pt x="1819" y="692"/>
                </a:lnTo>
                <a:lnTo>
                  <a:pt x="1889" y="597"/>
                </a:lnTo>
                <a:lnTo>
                  <a:pt x="1922" y="549"/>
                </a:lnTo>
                <a:lnTo>
                  <a:pt x="1298" y="535"/>
                </a:lnTo>
                <a:lnTo>
                  <a:pt x="970" y="0"/>
                </a:lnTo>
                <a:lnTo>
                  <a:pt x="940" y="36"/>
                </a:lnTo>
                <a:lnTo>
                  <a:pt x="874" y="103"/>
                </a:lnTo>
                <a:lnTo>
                  <a:pt x="800" y="163"/>
                </a:lnTo>
                <a:lnTo>
                  <a:pt x="721" y="214"/>
                </a:lnTo>
                <a:lnTo>
                  <a:pt x="635" y="256"/>
                </a:lnTo>
                <a:lnTo>
                  <a:pt x="546" y="289"/>
                </a:lnTo>
                <a:lnTo>
                  <a:pt x="451" y="312"/>
                </a:lnTo>
                <a:lnTo>
                  <a:pt x="353" y="324"/>
                </a:lnTo>
                <a:lnTo>
                  <a:pt x="301" y="325"/>
                </a:lnTo>
                <a:lnTo>
                  <a:pt x="298" y="32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6" name="Freeform 27">
            <a:extLst>
              <a:ext uri="{FF2B5EF4-FFF2-40B4-BE49-F238E27FC236}">
                <a16:creationId xmlns:a16="http://schemas.microsoft.com/office/drawing/2014/main" id="{154A62A6-3FFE-4B92-89F1-C97ECBBEEA94}"/>
              </a:ext>
            </a:extLst>
          </p:cNvPr>
          <p:cNvSpPr>
            <a:spLocks/>
          </p:cNvSpPr>
          <p:nvPr/>
        </p:nvSpPr>
        <p:spPr bwMode="auto">
          <a:xfrm>
            <a:off x="7032259" y="2600250"/>
            <a:ext cx="1476207" cy="2172293"/>
          </a:xfrm>
          <a:custGeom>
            <a:avLst/>
            <a:gdLst>
              <a:gd name="T0" fmla="*/ 1002 w 1209"/>
              <a:gd name="T1" fmla="*/ 0 h 1842"/>
              <a:gd name="T2" fmla="*/ 678 w 1209"/>
              <a:gd name="T3" fmla="*/ 534 h 1842"/>
              <a:gd name="T4" fmla="*/ 52 w 1209"/>
              <a:gd name="T5" fmla="*/ 551 h 1842"/>
              <a:gd name="T6" fmla="*/ 66 w 1209"/>
              <a:gd name="T7" fmla="*/ 588 h 1842"/>
              <a:gd name="T8" fmla="*/ 89 w 1209"/>
              <a:gd name="T9" fmla="*/ 667 h 1842"/>
              <a:gd name="T10" fmla="*/ 106 w 1209"/>
              <a:gd name="T11" fmla="*/ 748 h 1842"/>
              <a:gd name="T12" fmla="*/ 114 w 1209"/>
              <a:gd name="T13" fmla="*/ 832 h 1842"/>
              <a:gd name="T14" fmla="*/ 115 w 1209"/>
              <a:gd name="T15" fmla="*/ 875 h 1842"/>
              <a:gd name="T16" fmla="*/ 114 w 1209"/>
              <a:gd name="T17" fmla="*/ 933 h 1842"/>
              <a:gd name="T18" fmla="*/ 98 w 1209"/>
              <a:gd name="T19" fmla="*/ 1046 h 1842"/>
              <a:gd name="T20" fmla="*/ 70 w 1209"/>
              <a:gd name="T21" fmla="*/ 1152 h 1842"/>
              <a:gd name="T22" fmla="*/ 27 w 1209"/>
              <a:gd name="T23" fmla="*/ 1255 h 1842"/>
              <a:gd name="T24" fmla="*/ 0 w 1209"/>
              <a:gd name="T25" fmla="*/ 1301 h 1842"/>
              <a:gd name="T26" fmla="*/ 324 w 1209"/>
              <a:gd name="T27" fmla="*/ 1829 h 1842"/>
              <a:gd name="T28" fmla="*/ 952 w 1209"/>
              <a:gd name="T29" fmla="*/ 1842 h 1842"/>
              <a:gd name="T30" fmla="*/ 982 w 1209"/>
              <a:gd name="T31" fmla="*/ 1789 h 1842"/>
              <a:gd name="T32" fmla="*/ 1037 w 1209"/>
              <a:gd name="T33" fmla="*/ 1677 h 1842"/>
              <a:gd name="T34" fmla="*/ 1085 w 1209"/>
              <a:gd name="T35" fmla="*/ 1563 h 1842"/>
              <a:gd name="T36" fmla="*/ 1125 w 1209"/>
              <a:gd name="T37" fmla="*/ 1444 h 1842"/>
              <a:gd name="T38" fmla="*/ 1158 w 1209"/>
              <a:gd name="T39" fmla="*/ 1323 h 1842"/>
              <a:gd name="T40" fmla="*/ 1183 w 1209"/>
              <a:gd name="T41" fmla="*/ 1198 h 1842"/>
              <a:gd name="T42" fmla="*/ 1200 w 1209"/>
              <a:gd name="T43" fmla="*/ 1070 h 1842"/>
              <a:gd name="T44" fmla="*/ 1209 w 1209"/>
              <a:gd name="T45" fmla="*/ 941 h 1842"/>
              <a:gd name="T46" fmla="*/ 1209 w 1209"/>
              <a:gd name="T47" fmla="*/ 875 h 1842"/>
              <a:gd name="T48" fmla="*/ 1209 w 1209"/>
              <a:gd name="T49" fmla="*/ 816 h 1842"/>
              <a:gd name="T50" fmla="*/ 1203 w 1209"/>
              <a:gd name="T51" fmla="*/ 700 h 1842"/>
              <a:gd name="T52" fmla="*/ 1188 w 1209"/>
              <a:gd name="T53" fmla="*/ 586 h 1842"/>
              <a:gd name="T54" fmla="*/ 1169 w 1209"/>
              <a:gd name="T55" fmla="*/ 473 h 1842"/>
              <a:gd name="T56" fmla="*/ 1142 w 1209"/>
              <a:gd name="T57" fmla="*/ 363 h 1842"/>
              <a:gd name="T58" fmla="*/ 1109 w 1209"/>
              <a:gd name="T59" fmla="*/ 257 h 1842"/>
              <a:gd name="T60" fmla="*/ 1070 w 1209"/>
              <a:gd name="T61" fmla="*/ 152 h 1842"/>
              <a:gd name="T62" fmla="*/ 1026 w 1209"/>
              <a:gd name="T63" fmla="*/ 49 h 1842"/>
              <a:gd name="T64" fmla="*/ 1002 w 1209"/>
              <a:gd name="T65" fmla="*/ 0 h 1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09" h="1842">
                <a:moveTo>
                  <a:pt x="1002" y="0"/>
                </a:moveTo>
                <a:lnTo>
                  <a:pt x="678" y="534"/>
                </a:lnTo>
                <a:lnTo>
                  <a:pt x="52" y="551"/>
                </a:lnTo>
                <a:lnTo>
                  <a:pt x="66" y="588"/>
                </a:lnTo>
                <a:lnTo>
                  <a:pt x="89" y="667"/>
                </a:lnTo>
                <a:lnTo>
                  <a:pt x="106" y="748"/>
                </a:lnTo>
                <a:lnTo>
                  <a:pt x="114" y="832"/>
                </a:lnTo>
                <a:lnTo>
                  <a:pt x="115" y="875"/>
                </a:lnTo>
                <a:lnTo>
                  <a:pt x="114" y="933"/>
                </a:lnTo>
                <a:lnTo>
                  <a:pt x="98" y="1046"/>
                </a:lnTo>
                <a:lnTo>
                  <a:pt x="70" y="1152"/>
                </a:lnTo>
                <a:lnTo>
                  <a:pt x="27" y="1255"/>
                </a:lnTo>
                <a:lnTo>
                  <a:pt x="0" y="1301"/>
                </a:lnTo>
                <a:lnTo>
                  <a:pt x="324" y="1829"/>
                </a:lnTo>
                <a:lnTo>
                  <a:pt x="952" y="1842"/>
                </a:lnTo>
                <a:lnTo>
                  <a:pt x="982" y="1789"/>
                </a:lnTo>
                <a:lnTo>
                  <a:pt x="1037" y="1677"/>
                </a:lnTo>
                <a:lnTo>
                  <a:pt x="1085" y="1563"/>
                </a:lnTo>
                <a:lnTo>
                  <a:pt x="1125" y="1444"/>
                </a:lnTo>
                <a:lnTo>
                  <a:pt x="1158" y="1323"/>
                </a:lnTo>
                <a:lnTo>
                  <a:pt x="1183" y="1198"/>
                </a:lnTo>
                <a:lnTo>
                  <a:pt x="1200" y="1070"/>
                </a:lnTo>
                <a:lnTo>
                  <a:pt x="1209" y="941"/>
                </a:lnTo>
                <a:lnTo>
                  <a:pt x="1209" y="875"/>
                </a:lnTo>
                <a:lnTo>
                  <a:pt x="1209" y="816"/>
                </a:lnTo>
                <a:lnTo>
                  <a:pt x="1203" y="700"/>
                </a:lnTo>
                <a:lnTo>
                  <a:pt x="1188" y="586"/>
                </a:lnTo>
                <a:lnTo>
                  <a:pt x="1169" y="473"/>
                </a:lnTo>
                <a:lnTo>
                  <a:pt x="1142" y="363"/>
                </a:lnTo>
                <a:lnTo>
                  <a:pt x="1109" y="257"/>
                </a:lnTo>
                <a:lnTo>
                  <a:pt x="1070" y="152"/>
                </a:lnTo>
                <a:lnTo>
                  <a:pt x="1026" y="49"/>
                </a:lnTo>
                <a:lnTo>
                  <a:pt x="1002" y="0"/>
                </a:lnTo>
                <a:close/>
              </a:path>
            </a:pathLst>
          </a:custGeom>
          <a:solidFill>
            <a:srgbClr val="FFC22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7" name="Freeform 30">
            <a:extLst>
              <a:ext uri="{FF2B5EF4-FFF2-40B4-BE49-F238E27FC236}">
                <a16:creationId xmlns:a16="http://schemas.microsoft.com/office/drawing/2014/main" id="{E261DBA2-A91A-45FE-8C06-80597F25B47C}"/>
              </a:ext>
            </a:extLst>
          </p:cNvPr>
          <p:cNvSpPr>
            <a:spLocks/>
          </p:cNvSpPr>
          <p:nvPr/>
        </p:nvSpPr>
        <p:spPr bwMode="auto">
          <a:xfrm>
            <a:off x="6267359" y="1346824"/>
            <a:ext cx="1914684" cy="1776475"/>
          </a:xfrm>
          <a:custGeom>
            <a:avLst/>
            <a:gdLst>
              <a:gd name="T0" fmla="*/ 6 w 1572"/>
              <a:gd name="T1" fmla="*/ 0 h 1511"/>
              <a:gd name="T2" fmla="*/ 303 w 1572"/>
              <a:gd name="T3" fmla="*/ 541 h 1511"/>
              <a:gd name="T4" fmla="*/ 0 w 1572"/>
              <a:gd name="T5" fmla="*/ 1099 h 1511"/>
              <a:gd name="T6" fmla="*/ 50 w 1572"/>
              <a:gd name="T7" fmla="*/ 1106 h 1511"/>
              <a:gd name="T8" fmla="*/ 146 w 1572"/>
              <a:gd name="T9" fmla="*/ 1129 h 1511"/>
              <a:gd name="T10" fmla="*/ 238 w 1572"/>
              <a:gd name="T11" fmla="*/ 1164 h 1511"/>
              <a:gd name="T12" fmla="*/ 325 w 1572"/>
              <a:gd name="T13" fmla="*/ 1208 h 1511"/>
              <a:gd name="T14" fmla="*/ 406 w 1572"/>
              <a:gd name="T15" fmla="*/ 1261 h 1511"/>
              <a:gd name="T16" fmla="*/ 478 w 1572"/>
              <a:gd name="T17" fmla="*/ 1324 h 1511"/>
              <a:gd name="T18" fmla="*/ 544 w 1572"/>
              <a:gd name="T19" fmla="*/ 1394 h 1511"/>
              <a:gd name="T20" fmla="*/ 603 w 1572"/>
              <a:gd name="T21" fmla="*/ 1470 h 1511"/>
              <a:gd name="T22" fmla="*/ 628 w 1572"/>
              <a:gd name="T23" fmla="*/ 1511 h 1511"/>
              <a:gd name="T24" fmla="*/ 1245 w 1572"/>
              <a:gd name="T25" fmla="*/ 1495 h 1511"/>
              <a:gd name="T26" fmla="*/ 1572 w 1572"/>
              <a:gd name="T27" fmla="*/ 958 h 1511"/>
              <a:gd name="T28" fmla="*/ 1542 w 1572"/>
              <a:gd name="T29" fmla="*/ 906 h 1511"/>
              <a:gd name="T30" fmla="*/ 1476 w 1572"/>
              <a:gd name="T31" fmla="*/ 809 h 1511"/>
              <a:gd name="T32" fmla="*/ 1404 w 1572"/>
              <a:gd name="T33" fmla="*/ 716 h 1511"/>
              <a:gd name="T34" fmla="*/ 1327 w 1572"/>
              <a:gd name="T35" fmla="*/ 626 h 1511"/>
              <a:gd name="T36" fmla="*/ 1245 w 1572"/>
              <a:gd name="T37" fmla="*/ 542 h 1511"/>
              <a:gd name="T38" fmla="*/ 1157 w 1572"/>
              <a:gd name="T39" fmla="*/ 463 h 1511"/>
              <a:gd name="T40" fmla="*/ 1065 w 1572"/>
              <a:gd name="T41" fmla="*/ 389 h 1511"/>
              <a:gd name="T42" fmla="*/ 969 w 1572"/>
              <a:gd name="T43" fmla="*/ 320 h 1511"/>
              <a:gd name="T44" fmla="*/ 870 w 1572"/>
              <a:gd name="T45" fmla="*/ 258 h 1511"/>
              <a:gd name="T46" fmla="*/ 765 w 1572"/>
              <a:gd name="T47" fmla="*/ 202 h 1511"/>
              <a:gd name="T48" fmla="*/ 657 w 1572"/>
              <a:gd name="T49" fmla="*/ 152 h 1511"/>
              <a:gd name="T50" fmla="*/ 544 w 1572"/>
              <a:gd name="T51" fmla="*/ 109 h 1511"/>
              <a:gd name="T52" fmla="*/ 430 w 1572"/>
              <a:gd name="T53" fmla="*/ 71 h 1511"/>
              <a:gd name="T54" fmla="*/ 312 w 1572"/>
              <a:gd name="T55" fmla="*/ 42 h 1511"/>
              <a:gd name="T56" fmla="*/ 192 w 1572"/>
              <a:gd name="T57" fmla="*/ 20 h 1511"/>
              <a:gd name="T58" fmla="*/ 69 w 1572"/>
              <a:gd name="T59" fmla="*/ 5 h 1511"/>
              <a:gd name="T60" fmla="*/ 6 w 1572"/>
              <a:gd name="T61" fmla="*/ 0 h 1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572" h="1511">
                <a:moveTo>
                  <a:pt x="6" y="0"/>
                </a:moveTo>
                <a:lnTo>
                  <a:pt x="303" y="541"/>
                </a:lnTo>
                <a:lnTo>
                  <a:pt x="0" y="1099"/>
                </a:lnTo>
                <a:lnTo>
                  <a:pt x="50" y="1106"/>
                </a:lnTo>
                <a:lnTo>
                  <a:pt x="146" y="1129"/>
                </a:lnTo>
                <a:lnTo>
                  <a:pt x="238" y="1164"/>
                </a:lnTo>
                <a:lnTo>
                  <a:pt x="325" y="1208"/>
                </a:lnTo>
                <a:lnTo>
                  <a:pt x="406" y="1261"/>
                </a:lnTo>
                <a:lnTo>
                  <a:pt x="478" y="1324"/>
                </a:lnTo>
                <a:lnTo>
                  <a:pt x="544" y="1394"/>
                </a:lnTo>
                <a:lnTo>
                  <a:pt x="603" y="1470"/>
                </a:lnTo>
                <a:lnTo>
                  <a:pt x="628" y="1511"/>
                </a:lnTo>
                <a:lnTo>
                  <a:pt x="1245" y="1495"/>
                </a:lnTo>
                <a:lnTo>
                  <a:pt x="1572" y="958"/>
                </a:lnTo>
                <a:lnTo>
                  <a:pt x="1542" y="906"/>
                </a:lnTo>
                <a:lnTo>
                  <a:pt x="1476" y="809"/>
                </a:lnTo>
                <a:lnTo>
                  <a:pt x="1404" y="716"/>
                </a:lnTo>
                <a:lnTo>
                  <a:pt x="1327" y="626"/>
                </a:lnTo>
                <a:lnTo>
                  <a:pt x="1245" y="542"/>
                </a:lnTo>
                <a:lnTo>
                  <a:pt x="1157" y="463"/>
                </a:lnTo>
                <a:lnTo>
                  <a:pt x="1065" y="389"/>
                </a:lnTo>
                <a:lnTo>
                  <a:pt x="969" y="320"/>
                </a:lnTo>
                <a:lnTo>
                  <a:pt x="870" y="258"/>
                </a:lnTo>
                <a:lnTo>
                  <a:pt x="765" y="202"/>
                </a:lnTo>
                <a:lnTo>
                  <a:pt x="657" y="152"/>
                </a:lnTo>
                <a:lnTo>
                  <a:pt x="544" y="109"/>
                </a:lnTo>
                <a:lnTo>
                  <a:pt x="430" y="71"/>
                </a:lnTo>
                <a:lnTo>
                  <a:pt x="312" y="42"/>
                </a:lnTo>
                <a:lnTo>
                  <a:pt x="192" y="20"/>
                </a:lnTo>
                <a:lnTo>
                  <a:pt x="69" y="5"/>
                </a:lnTo>
                <a:lnTo>
                  <a:pt x="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8" name="Freeform 1164">
            <a:extLst>
              <a:ext uri="{FF2B5EF4-FFF2-40B4-BE49-F238E27FC236}">
                <a16:creationId xmlns:a16="http://schemas.microsoft.com/office/drawing/2014/main" id="{5710A81C-A692-4852-B340-62BA62AF2583}"/>
              </a:ext>
            </a:extLst>
          </p:cNvPr>
          <p:cNvSpPr>
            <a:spLocks/>
          </p:cNvSpPr>
          <p:nvPr/>
        </p:nvSpPr>
        <p:spPr bwMode="auto">
          <a:xfrm>
            <a:off x="6267361" y="1346824"/>
            <a:ext cx="1914684" cy="1776475"/>
          </a:xfrm>
          <a:custGeom>
            <a:avLst/>
            <a:gdLst>
              <a:gd name="T0" fmla="*/ 0 w 1572"/>
              <a:gd name="T1" fmla="*/ 1099 h 1511"/>
              <a:gd name="T2" fmla="*/ 50 w 1572"/>
              <a:gd name="T3" fmla="*/ 1106 h 1511"/>
              <a:gd name="T4" fmla="*/ 146 w 1572"/>
              <a:gd name="T5" fmla="*/ 1129 h 1511"/>
              <a:gd name="T6" fmla="*/ 238 w 1572"/>
              <a:gd name="T7" fmla="*/ 1164 h 1511"/>
              <a:gd name="T8" fmla="*/ 325 w 1572"/>
              <a:gd name="T9" fmla="*/ 1208 h 1511"/>
              <a:gd name="T10" fmla="*/ 406 w 1572"/>
              <a:gd name="T11" fmla="*/ 1261 h 1511"/>
              <a:gd name="T12" fmla="*/ 478 w 1572"/>
              <a:gd name="T13" fmla="*/ 1324 h 1511"/>
              <a:gd name="T14" fmla="*/ 544 w 1572"/>
              <a:gd name="T15" fmla="*/ 1394 h 1511"/>
              <a:gd name="T16" fmla="*/ 603 w 1572"/>
              <a:gd name="T17" fmla="*/ 1470 h 1511"/>
              <a:gd name="T18" fmla="*/ 628 w 1572"/>
              <a:gd name="T19" fmla="*/ 1511 h 1511"/>
              <a:gd name="T20" fmla="*/ 1245 w 1572"/>
              <a:gd name="T21" fmla="*/ 1495 h 1511"/>
              <a:gd name="T22" fmla="*/ 1572 w 1572"/>
              <a:gd name="T23" fmla="*/ 958 h 1511"/>
              <a:gd name="T24" fmla="*/ 1542 w 1572"/>
              <a:gd name="T25" fmla="*/ 906 h 1511"/>
              <a:gd name="T26" fmla="*/ 1476 w 1572"/>
              <a:gd name="T27" fmla="*/ 809 h 1511"/>
              <a:gd name="T28" fmla="*/ 1404 w 1572"/>
              <a:gd name="T29" fmla="*/ 716 h 1511"/>
              <a:gd name="T30" fmla="*/ 1327 w 1572"/>
              <a:gd name="T31" fmla="*/ 626 h 1511"/>
              <a:gd name="T32" fmla="*/ 1245 w 1572"/>
              <a:gd name="T33" fmla="*/ 542 h 1511"/>
              <a:gd name="T34" fmla="*/ 1157 w 1572"/>
              <a:gd name="T35" fmla="*/ 463 h 1511"/>
              <a:gd name="T36" fmla="*/ 1065 w 1572"/>
              <a:gd name="T37" fmla="*/ 389 h 1511"/>
              <a:gd name="T38" fmla="*/ 969 w 1572"/>
              <a:gd name="T39" fmla="*/ 320 h 1511"/>
              <a:gd name="T40" fmla="*/ 870 w 1572"/>
              <a:gd name="T41" fmla="*/ 258 h 1511"/>
              <a:gd name="T42" fmla="*/ 765 w 1572"/>
              <a:gd name="T43" fmla="*/ 202 h 1511"/>
              <a:gd name="T44" fmla="*/ 657 w 1572"/>
              <a:gd name="T45" fmla="*/ 152 h 1511"/>
              <a:gd name="T46" fmla="*/ 544 w 1572"/>
              <a:gd name="T47" fmla="*/ 109 h 1511"/>
              <a:gd name="T48" fmla="*/ 430 w 1572"/>
              <a:gd name="T49" fmla="*/ 71 h 1511"/>
              <a:gd name="T50" fmla="*/ 312 w 1572"/>
              <a:gd name="T51" fmla="*/ 42 h 1511"/>
              <a:gd name="T52" fmla="*/ 192 w 1572"/>
              <a:gd name="T53" fmla="*/ 20 h 1511"/>
              <a:gd name="T54" fmla="*/ 69 w 1572"/>
              <a:gd name="T55" fmla="*/ 5 h 1511"/>
              <a:gd name="T56" fmla="*/ 6 w 1572"/>
              <a:gd name="T57" fmla="*/ 0 h 1511"/>
              <a:gd name="T58" fmla="*/ 303 w 1572"/>
              <a:gd name="T59" fmla="*/ 541 h 1511"/>
              <a:gd name="T60" fmla="*/ 0 w 1572"/>
              <a:gd name="T61" fmla="*/ 1099 h 1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572" h="1511">
                <a:moveTo>
                  <a:pt x="0" y="1099"/>
                </a:moveTo>
                <a:lnTo>
                  <a:pt x="50" y="1106"/>
                </a:lnTo>
                <a:lnTo>
                  <a:pt x="146" y="1129"/>
                </a:lnTo>
                <a:lnTo>
                  <a:pt x="238" y="1164"/>
                </a:lnTo>
                <a:lnTo>
                  <a:pt x="325" y="1208"/>
                </a:lnTo>
                <a:lnTo>
                  <a:pt x="406" y="1261"/>
                </a:lnTo>
                <a:lnTo>
                  <a:pt x="478" y="1324"/>
                </a:lnTo>
                <a:lnTo>
                  <a:pt x="544" y="1394"/>
                </a:lnTo>
                <a:lnTo>
                  <a:pt x="603" y="1470"/>
                </a:lnTo>
                <a:lnTo>
                  <a:pt x="628" y="1511"/>
                </a:lnTo>
                <a:lnTo>
                  <a:pt x="1245" y="1495"/>
                </a:lnTo>
                <a:lnTo>
                  <a:pt x="1572" y="958"/>
                </a:lnTo>
                <a:lnTo>
                  <a:pt x="1542" y="906"/>
                </a:lnTo>
                <a:lnTo>
                  <a:pt x="1476" y="809"/>
                </a:lnTo>
                <a:lnTo>
                  <a:pt x="1404" y="716"/>
                </a:lnTo>
                <a:lnTo>
                  <a:pt x="1327" y="626"/>
                </a:lnTo>
                <a:lnTo>
                  <a:pt x="1245" y="542"/>
                </a:lnTo>
                <a:lnTo>
                  <a:pt x="1157" y="463"/>
                </a:lnTo>
                <a:lnTo>
                  <a:pt x="1065" y="389"/>
                </a:lnTo>
                <a:lnTo>
                  <a:pt x="969" y="320"/>
                </a:lnTo>
                <a:lnTo>
                  <a:pt x="870" y="258"/>
                </a:lnTo>
                <a:lnTo>
                  <a:pt x="765" y="202"/>
                </a:lnTo>
                <a:lnTo>
                  <a:pt x="657" y="152"/>
                </a:lnTo>
                <a:lnTo>
                  <a:pt x="544" y="109"/>
                </a:lnTo>
                <a:lnTo>
                  <a:pt x="430" y="71"/>
                </a:lnTo>
                <a:lnTo>
                  <a:pt x="312" y="42"/>
                </a:lnTo>
                <a:lnTo>
                  <a:pt x="192" y="20"/>
                </a:lnTo>
                <a:lnTo>
                  <a:pt x="69" y="5"/>
                </a:lnTo>
                <a:lnTo>
                  <a:pt x="6" y="0"/>
                </a:lnTo>
                <a:lnTo>
                  <a:pt x="303" y="541"/>
                </a:lnTo>
                <a:lnTo>
                  <a:pt x="0" y="1099"/>
                </a:lnTo>
                <a:close/>
              </a:path>
            </a:pathLst>
          </a:custGeom>
          <a:solidFill>
            <a:srgbClr val="78B9E7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9" name="Freeform 1165">
            <a:extLst>
              <a:ext uri="{FF2B5EF4-FFF2-40B4-BE49-F238E27FC236}">
                <a16:creationId xmlns:a16="http://schemas.microsoft.com/office/drawing/2014/main" id="{B2F5FD96-A4D6-409F-B153-9224C0B3BCAA}"/>
              </a:ext>
            </a:extLst>
          </p:cNvPr>
          <p:cNvSpPr>
            <a:spLocks/>
          </p:cNvSpPr>
          <p:nvPr/>
        </p:nvSpPr>
        <p:spPr bwMode="auto">
          <a:xfrm>
            <a:off x="7084020" y="2600250"/>
            <a:ext cx="1476207" cy="2172293"/>
          </a:xfrm>
          <a:custGeom>
            <a:avLst/>
            <a:gdLst>
              <a:gd name="T0" fmla="*/ 52 w 1209"/>
              <a:gd name="T1" fmla="*/ 551 h 1842"/>
              <a:gd name="T2" fmla="*/ 66 w 1209"/>
              <a:gd name="T3" fmla="*/ 588 h 1842"/>
              <a:gd name="T4" fmla="*/ 89 w 1209"/>
              <a:gd name="T5" fmla="*/ 667 h 1842"/>
              <a:gd name="T6" fmla="*/ 106 w 1209"/>
              <a:gd name="T7" fmla="*/ 748 h 1842"/>
              <a:gd name="T8" fmla="*/ 114 w 1209"/>
              <a:gd name="T9" fmla="*/ 832 h 1842"/>
              <a:gd name="T10" fmla="*/ 115 w 1209"/>
              <a:gd name="T11" fmla="*/ 875 h 1842"/>
              <a:gd name="T12" fmla="*/ 114 w 1209"/>
              <a:gd name="T13" fmla="*/ 933 h 1842"/>
              <a:gd name="T14" fmla="*/ 98 w 1209"/>
              <a:gd name="T15" fmla="*/ 1046 h 1842"/>
              <a:gd name="T16" fmla="*/ 70 w 1209"/>
              <a:gd name="T17" fmla="*/ 1152 h 1842"/>
              <a:gd name="T18" fmla="*/ 27 w 1209"/>
              <a:gd name="T19" fmla="*/ 1255 h 1842"/>
              <a:gd name="T20" fmla="*/ 0 w 1209"/>
              <a:gd name="T21" fmla="*/ 1301 h 1842"/>
              <a:gd name="T22" fmla="*/ 324 w 1209"/>
              <a:gd name="T23" fmla="*/ 1829 h 1842"/>
              <a:gd name="T24" fmla="*/ 952 w 1209"/>
              <a:gd name="T25" fmla="*/ 1842 h 1842"/>
              <a:gd name="T26" fmla="*/ 982 w 1209"/>
              <a:gd name="T27" fmla="*/ 1789 h 1842"/>
              <a:gd name="T28" fmla="*/ 1037 w 1209"/>
              <a:gd name="T29" fmla="*/ 1677 h 1842"/>
              <a:gd name="T30" fmla="*/ 1085 w 1209"/>
              <a:gd name="T31" fmla="*/ 1563 h 1842"/>
              <a:gd name="T32" fmla="*/ 1125 w 1209"/>
              <a:gd name="T33" fmla="*/ 1444 h 1842"/>
              <a:gd name="T34" fmla="*/ 1158 w 1209"/>
              <a:gd name="T35" fmla="*/ 1323 h 1842"/>
              <a:gd name="T36" fmla="*/ 1183 w 1209"/>
              <a:gd name="T37" fmla="*/ 1198 h 1842"/>
              <a:gd name="T38" fmla="*/ 1200 w 1209"/>
              <a:gd name="T39" fmla="*/ 1070 h 1842"/>
              <a:gd name="T40" fmla="*/ 1209 w 1209"/>
              <a:gd name="T41" fmla="*/ 941 h 1842"/>
              <a:gd name="T42" fmla="*/ 1209 w 1209"/>
              <a:gd name="T43" fmla="*/ 875 h 1842"/>
              <a:gd name="T44" fmla="*/ 1209 w 1209"/>
              <a:gd name="T45" fmla="*/ 816 h 1842"/>
              <a:gd name="T46" fmla="*/ 1203 w 1209"/>
              <a:gd name="T47" fmla="*/ 700 h 1842"/>
              <a:gd name="T48" fmla="*/ 1188 w 1209"/>
              <a:gd name="T49" fmla="*/ 586 h 1842"/>
              <a:gd name="T50" fmla="*/ 1169 w 1209"/>
              <a:gd name="T51" fmla="*/ 473 h 1842"/>
              <a:gd name="T52" fmla="*/ 1142 w 1209"/>
              <a:gd name="T53" fmla="*/ 363 h 1842"/>
              <a:gd name="T54" fmla="*/ 1109 w 1209"/>
              <a:gd name="T55" fmla="*/ 257 h 1842"/>
              <a:gd name="T56" fmla="*/ 1070 w 1209"/>
              <a:gd name="T57" fmla="*/ 152 h 1842"/>
              <a:gd name="T58" fmla="*/ 1026 w 1209"/>
              <a:gd name="T59" fmla="*/ 49 h 1842"/>
              <a:gd name="T60" fmla="*/ 1002 w 1209"/>
              <a:gd name="T61" fmla="*/ 0 h 1842"/>
              <a:gd name="T62" fmla="*/ 678 w 1209"/>
              <a:gd name="T63" fmla="*/ 534 h 1842"/>
              <a:gd name="T64" fmla="*/ 52 w 1209"/>
              <a:gd name="T65" fmla="*/ 551 h 18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09" h="1842">
                <a:moveTo>
                  <a:pt x="52" y="551"/>
                </a:moveTo>
                <a:lnTo>
                  <a:pt x="66" y="588"/>
                </a:lnTo>
                <a:lnTo>
                  <a:pt x="89" y="667"/>
                </a:lnTo>
                <a:lnTo>
                  <a:pt x="106" y="748"/>
                </a:lnTo>
                <a:lnTo>
                  <a:pt x="114" y="832"/>
                </a:lnTo>
                <a:lnTo>
                  <a:pt x="115" y="875"/>
                </a:lnTo>
                <a:lnTo>
                  <a:pt x="114" y="933"/>
                </a:lnTo>
                <a:lnTo>
                  <a:pt x="98" y="1046"/>
                </a:lnTo>
                <a:lnTo>
                  <a:pt x="70" y="1152"/>
                </a:lnTo>
                <a:lnTo>
                  <a:pt x="27" y="1255"/>
                </a:lnTo>
                <a:lnTo>
                  <a:pt x="0" y="1301"/>
                </a:lnTo>
                <a:lnTo>
                  <a:pt x="324" y="1829"/>
                </a:lnTo>
                <a:lnTo>
                  <a:pt x="952" y="1842"/>
                </a:lnTo>
                <a:lnTo>
                  <a:pt x="982" y="1789"/>
                </a:lnTo>
                <a:lnTo>
                  <a:pt x="1037" y="1677"/>
                </a:lnTo>
                <a:lnTo>
                  <a:pt x="1085" y="1563"/>
                </a:lnTo>
                <a:lnTo>
                  <a:pt x="1125" y="1444"/>
                </a:lnTo>
                <a:lnTo>
                  <a:pt x="1158" y="1323"/>
                </a:lnTo>
                <a:lnTo>
                  <a:pt x="1183" y="1198"/>
                </a:lnTo>
                <a:lnTo>
                  <a:pt x="1200" y="1070"/>
                </a:lnTo>
                <a:lnTo>
                  <a:pt x="1209" y="941"/>
                </a:lnTo>
                <a:lnTo>
                  <a:pt x="1209" y="875"/>
                </a:lnTo>
                <a:lnTo>
                  <a:pt x="1209" y="816"/>
                </a:lnTo>
                <a:lnTo>
                  <a:pt x="1203" y="700"/>
                </a:lnTo>
                <a:lnTo>
                  <a:pt x="1188" y="586"/>
                </a:lnTo>
                <a:lnTo>
                  <a:pt x="1169" y="473"/>
                </a:lnTo>
                <a:lnTo>
                  <a:pt x="1142" y="363"/>
                </a:lnTo>
                <a:lnTo>
                  <a:pt x="1109" y="257"/>
                </a:lnTo>
                <a:lnTo>
                  <a:pt x="1070" y="152"/>
                </a:lnTo>
                <a:lnTo>
                  <a:pt x="1026" y="49"/>
                </a:lnTo>
                <a:lnTo>
                  <a:pt x="1002" y="0"/>
                </a:lnTo>
                <a:lnTo>
                  <a:pt x="678" y="534"/>
                </a:lnTo>
                <a:lnTo>
                  <a:pt x="52" y="551"/>
                </a:lnTo>
                <a:close/>
              </a:path>
            </a:pathLst>
          </a:custGeom>
          <a:solidFill>
            <a:srgbClr val="FFC220"/>
          </a:solidFill>
          <a:ln>
            <a:noFill/>
          </a:ln>
        </p:spPr>
        <p:txBody>
          <a:bodyPr vert="horz" wrap="square" lIns="91440" tIns="2743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rPr>
              <a:t>Block Chain</a:t>
            </a:r>
          </a:p>
        </p:txBody>
      </p:sp>
      <p:sp>
        <p:nvSpPr>
          <p:cNvPr id="10" name="Freeform 1166">
            <a:extLst>
              <a:ext uri="{FF2B5EF4-FFF2-40B4-BE49-F238E27FC236}">
                <a16:creationId xmlns:a16="http://schemas.microsoft.com/office/drawing/2014/main" id="{38979C68-4625-41BE-81C6-838E0310E016}"/>
              </a:ext>
            </a:extLst>
          </p:cNvPr>
          <p:cNvSpPr>
            <a:spLocks/>
          </p:cNvSpPr>
          <p:nvPr/>
        </p:nvSpPr>
        <p:spPr bwMode="auto">
          <a:xfrm>
            <a:off x="4214432" y="1342111"/>
            <a:ext cx="2323929" cy="1686943"/>
          </a:xfrm>
          <a:custGeom>
            <a:avLst/>
            <a:gdLst>
              <a:gd name="T0" fmla="*/ 943 w 1905"/>
              <a:gd name="T1" fmla="*/ 1432 h 1432"/>
              <a:gd name="T2" fmla="*/ 972 w 1905"/>
              <a:gd name="T3" fmla="*/ 1394 h 1432"/>
              <a:gd name="T4" fmla="*/ 1037 w 1905"/>
              <a:gd name="T5" fmla="*/ 1326 h 1432"/>
              <a:gd name="T6" fmla="*/ 1109 w 1905"/>
              <a:gd name="T7" fmla="*/ 1265 h 1432"/>
              <a:gd name="T8" fmla="*/ 1188 w 1905"/>
              <a:gd name="T9" fmla="*/ 1211 h 1432"/>
              <a:gd name="T10" fmla="*/ 1272 w 1905"/>
              <a:gd name="T11" fmla="*/ 1167 h 1432"/>
              <a:gd name="T12" fmla="*/ 1362 w 1905"/>
              <a:gd name="T13" fmla="*/ 1134 h 1432"/>
              <a:gd name="T14" fmla="*/ 1457 w 1905"/>
              <a:gd name="T15" fmla="*/ 1109 h 1432"/>
              <a:gd name="T16" fmla="*/ 1555 w 1905"/>
              <a:gd name="T17" fmla="*/ 1096 h 1432"/>
              <a:gd name="T18" fmla="*/ 1606 w 1905"/>
              <a:gd name="T19" fmla="*/ 1095 h 1432"/>
              <a:gd name="T20" fmla="*/ 1905 w 1905"/>
              <a:gd name="T21" fmla="*/ 544 h 1432"/>
              <a:gd name="T22" fmla="*/ 1607 w 1905"/>
              <a:gd name="T23" fmla="*/ 0 h 1432"/>
              <a:gd name="T24" fmla="*/ 1543 w 1905"/>
              <a:gd name="T25" fmla="*/ 1 h 1432"/>
              <a:gd name="T26" fmla="*/ 1420 w 1905"/>
              <a:gd name="T27" fmla="*/ 10 h 1432"/>
              <a:gd name="T28" fmla="*/ 1298 w 1905"/>
              <a:gd name="T29" fmla="*/ 26 h 1432"/>
              <a:gd name="T30" fmla="*/ 1179 w 1905"/>
              <a:gd name="T31" fmla="*/ 50 h 1432"/>
              <a:gd name="T32" fmla="*/ 1062 w 1905"/>
              <a:gd name="T33" fmla="*/ 80 h 1432"/>
              <a:gd name="T34" fmla="*/ 950 w 1905"/>
              <a:gd name="T35" fmla="*/ 119 h 1432"/>
              <a:gd name="T36" fmla="*/ 840 w 1905"/>
              <a:gd name="T37" fmla="*/ 163 h 1432"/>
              <a:gd name="T38" fmla="*/ 733 w 1905"/>
              <a:gd name="T39" fmla="*/ 213 h 1432"/>
              <a:gd name="T40" fmla="*/ 630 w 1905"/>
              <a:gd name="T41" fmla="*/ 270 h 1432"/>
              <a:gd name="T42" fmla="*/ 531 w 1905"/>
              <a:gd name="T43" fmla="*/ 333 h 1432"/>
              <a:gd name="T44" fmla="*/ 436 w 1905"/>
              <a:gd name="T45" fmla="*/ 401 h 1432"/>
              <a:gd name="T46" fmla="*/ 346 w 1905"/>
              <a:gd name="T47" fmla="*/ 475 h 1432"/>
              <a:gd name="T48" fmla="*/ 260 w 1905"/>
              <a:gd name="T49" fmla="*/ 556 h 1432"/>
              <a:gd name="T50" fmla="*/ 179 w 1905"/>
              <a:gd name="T51" fmla="*/ 639 h 1432"/>
              <a:gd name="T52" fmla="*/ 103 w 1905"/>
              <a:gd name="T53" fmla="*/ 728 h 1432"/>
              <a:gd name="T54" fmla="*/ 32 w 1905"/>
              <a:gd name="T55" fmla="*/ 821 h 1432"/>
              <a:gd name="T56" fmla="*/ 0 w 1905"/>
              <a:gd name="T57" fmla="*/ 871 h 1432"/>
              <a:gd name="T58" fmla="*/ 606 w 1905"/>
              <a:gd name="T59" fmla="*/ 884 h 1432"/>
              <a:gd name="T60" fmla="*/ 943 w 1905"/>
              <a:gd name="T61" fmla="*/ 1432 h 1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905" h="1432">
                <a:moveTo>
                  <a:pt x="943" y="1432"/>
                </a:moveTo>
                <a:lnTo>
                  <a:pt x="972" y="1394"/>
                </a:lnTo>
                <a:lnTo>
                  <a:pt x="1037" y="1326"/>
                </a:lnTo>
                <a:lnTo>
                  <a:pt x="1109" y="1265"/>
                </a:lnTo>
                <a:lnTo>
                  <a:pt x="1188" y="1211"/>
                </a:lnTo>
                <a:lnTo>
                  <a:pt x="1272" y="1167"/>
                </a:lnTo>
                <a:lnTo>
                  <a:pt x="1362" y="1134"/>
                </a:lnTo>
                <a:lnTo>
                  <a:pt x="1457" y="1109"/>
                </a:lnTo>
                <a:lnTo>
                  <a:pt x="1555" y="1096"/>
                </a:lnTo>
                <a:lnTo>
                  <a:pt x="1606" y="1095"/>
                </a:lnTo>
                <a:lnTo>
                  <a:pt x="1905" y="544"/>
                </a:lnTo>
                <a:lnTo>
                  <a:pt x="1607" y="0"/>
                </a:lnTo>
                <a:lnTo>
                  <a:pt x="1543" y="1"/>
                </a:lnTo>
                <a:lnTo>
                  <a:pt x="1420" y="10"/>
                </a:lnTo>
                <a:lnTo>
                  <a:pt x="1298" y="26"/>
                </a:lnTo>
                <a:lnTo>
                  <a:pt x="1179" y="50"/>
                </a:lnTo>
                <a:lnTo>
                  <a:pt x="1062" y="80"/>
                </a:lnTo>
                <a:lnTo>
                  <a:pt x="950" y="119"/>
                </a:lnTo>
                <a:lnTo>
                  <a:pt x="840" y="163"/>
                </a:lnTo>
                <a:lnTo>
                  <a:pt x="733" y="213"/>
                </a:lnTo>
                <a:lnTo>
                  <a:pt x="630" y="270"/>
                </a:lnTo>
                <a:lnTo>
                  <a:pt x="531" y="333"/>
                </a:lnTo>
                <a:lnTo>
                  <a:pt x="436" y="401"/>
                </a:lnTo>
                <a:lnTo>
                  <a:pt x="346" y="475"/>
                </a:lnTo>
                <a:lnTo>
                  <a:pt x="260" y="556"/>
                </a:lnTo>
                <a:lnTo>
                  <a:pt x="179" y="639"/>
                </a:lnTo>
                <a:lnTo>
                  <a:pt x="103" y="728"/>
                </a:lnTo>
                <a:lnTo>
                  <a:pt x="32" y="821"/>
                </a:lnTo>
                <a:lnTo>
                  <a:pt x="0" y="871"/>
                </a:lnTo>
                <a:lnTo>
                  <a:pt x="606" y="884"/>
                </a:lnTo>
                <a:lnTo>
                  <a:pt x="943" y="1432"/>
                </a:lnTo>
                <a:close/>
              </a:path>
            </a:pathLst>
          </a:custGeom>
          <a:solidFill>
            <a:srgbClr val="F47521"/>
          </a:solidFill>
          <a:ln>
            <a:noFill/>
          </a:ln>
        </p:spPr>
        <p:txBody>
          <a:bodyPr vert="horz" wrap="square" lIns="5486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rPr>
              <a:t>RPA</a:t>
            </a:r>
          </a:p>
        </p:txBody>
      </p:sp>
      <p:sp>
        <p:nvSpPr>
          <p:cNvPr id="11" name="Freeform 1167">
            <a:extLst>
              <a:ext uri="{FF2B5EF4-FFF2-40B4-BE49-F238E27FC236}">
                <a16:creationId xmlns:a16="http://schemas.microsoft.com/office/drawing/2014/main" id="{56A51D62-7F98-4D89-AC96-BB00F8C1B22A}"/>
              </a:ext>
            </a:extLst>
          </p:cNvPr>
          <p:cNvSpPr>
            <a:spLocks/>
          </p:cNvSpPr>
          <p:nvPr/>
        </p:nvSpPr>
        <p:spPr bwMode="auto">
          <a:xfrm>
            <a:off x="3819802" y="2491870"/>
            <a:ext cx="1466464" cy="2153445"/>
          </a:xfrm>
          <a:custGeom>
            <a:avLst/>
            <a:gdLst>
              <a:gd name="T0" fmla="*/ 1158 w 1201"/>
              <a:gd name="T1" fmla="*/ 1290 h 1826"/>
              <a:gd name="T2" fmla="*/ 1144 w 1201"/>
              <a:gd name="T3" fmla="*/ 1252 h 1826"/>
              <a:gd name="T4" fmla="*/ 1119 w 1201"/>
              <a:gd name="T5" fmla="*/ 1174 h 1826"/>
              <a:gd name="T6" fmla="*/ 1104 w 1201"/>
              <a:gd name="T7" fmla="*/ 1093 h 1826"/>
              <a:gd name="T8" fmla="*/ 1095 w 1201"/>
              <a:gd name="T9" fmla="*/ 1010 h 1826"/>
              <a:gd name="T10" fmla="*/ 1095 w 1201"/>
              <a:gd name="T11" fmla="*/ 967 h 1826"/>
              <a:gd name="T12" fmla="*/ 1096 w 1201"/>
              <a:gd name="T13" fmla="*/ 911 h 1826"/>
              <a:gd name="T14" fmla="*/ 1110 w 1201"/>
              <a:gd name="T15" fmla="*/ 802 h 1826"/>
              <a:gd name="T16" fmla="*/ 1138 w 1201"/>
              <a:gd name="T17" fmla="*/ 698 h 1826"/>
              <a:gd name="T18" fmla="*/ 1177 w 1201"/>
              <a:gd name="T19" fmla="*/ 601 h 1826"/>
              <a:gd name="T20" fmla="*/ 1201 w 1201"/>
              <a:gd name="T21" fmla="*/ 555 h 1826"/>
              <a:gd name="T22" fmla="*/ 869 w 1201"/>
              <a:gd name="T23" fmla="*/ 13 h 1826"/>
              <a:gd name="T24" fmla="*/ 258 w 1201"/>
              <a:gd name="T25" fmla="*/ 0 h 1826"/>
              <a:gd name="T26" fmla="*/ 228 w 1201"/>
              <a:gd name="T27" fmla="*/ 53 h 1826"/>
              <a:gd name="T28" fmla="*/ 173 w 1201"/>
              <a:gd name="T29" fmla="*/ 164 h 1826"/>
              <a:gd name="T30" fmla="*/ 125 w 1201"/>
              <a:gd name="T31" fmla="*/ 279 h 1826"/>
              <a:gd name="T32" fmla="*/ 85 w 1201"/>
              <a:gd name="T33" fmla="*/ 398 h 1826"/>
              <a:gd name="T34" fmla="*/ 51 w 1201"/>
              <a:gd name="T35" fmla="*/ 520 h 1826"/>
              <a:gd name="T36" fmla="*/ 27 w 1201"/>
              <a:gd name="T37" fmla="*/ 644 h 1826"/>
              <a:gd name="T38" fmla="*/ 10 w 1201"/>
              <a:gd name="T39" fmla="*/ 771 h 1826"/>
              <a:gd name="T40" fmla="*/ 1 w 1201"/>
              <a:gd name="T41" fmla="*/ 901 h 1826"/>
              <a:gd name="T42" fmla="*/ 0 w 1201"/>
              <a:gd name="T43" fmla="*/ 967 h 1826"/>
              <a:gd name="T44" fmla="*/ 1 w 1201"/>
              <a:gd name="T45" fmla="*/ 1024 h 1826"/>
              <a:gd name="T46" fmla="*/ 7 w 1201"/>
              <a:gd name="T47" fmla="*/ 1138 h 1826"/>
              <a:gd name="T48" fmla="*/ 20 w 1201"/>
              <a:gd name="T49" fmla="*/ 1251 h 1826"/>
              <a:gd name="T50" fmla="*/ 40 w 1201"/>
              <a:gd name="T51" fmla="*/ 1361 h 1826"/>
              <a:gd name="T52" fmla="*/ 66 w 1201"/>
              <a:gd name="T53" fmla="*/ 1468 h 1826"/>
              <a:gd name="T54" fmla="*/ 97 w 1201"/>
              <a:gd name="T55" fmla="*/ 1573 h 1826"/>
              <a:gd name="T56" fmla="*/ 134 w 1201"/>
              <a:gd name="T57" fmla="*/ 1677 h 1826"/>
              <a:gd name="T58" fmla="*/ 176 w 1201"/>
              <a:gd name="T59" fmla="*/ 1777 h 1826"/>
              <a:gd name="T60" fmla="*/ 201 w 1201"/>
              <a:gd name="T61" fmla="*/ 1826 h 1826"/>
              <a:gd name="T62" fmla="*/ 514 w 1201"/>
              <a:gd name="T63" fmla="*/ 1306 h 1826"/>
              <a:gd name="T64" fmla="*/ 1158 w 1201"/>
              <a:gd name="T65" fmla="*/ 1290 h 1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01" h="1826">
                <a:moveTo>
                  <a:pt x="1158" y="1290"/>
                </a:moveTo>
                <a:lnTo>
                  <a:pt x="1144" y="1252"/>
                </a:lnTo>
                <a:lnTo>
                  <a:pt x="1119" y="1174"/>
                </a:lnTo>
                <a:lnTo>
                  <a:pt x="1104" y="1093"/>
                </a:lnTo>
                <a:lnTo>
                  <a:pt x="1095" y="1010"/>
                </a:lnTo>
                <a:lnTo>
                  <a:pt x="1095" y="967"/>
                </a:lnTo>
                <a:lnTo>
                  <a:pt x="1096" y="911"/>
                </a:lnTo>
                <a:lnTo>
                  <a:pt x="1110" y="802"/>
                </a:lnTo>
                <a:lnTo>
                  <a:pt x="1138" y="698"/>
                </a:lnTo>
                <a:lnTo>
                  <a:pt x="1177" y="601"/>
                </a:lnTo>
                <a:lnTo>
                  <a:pt x="1201" y="555"/>
                </a:lnTo>
                <a:lnTo>
                  <a:pt x="869" y="13"/>
                </a:lnTo>
                <a:lnTo>
                  <a:pt x="258" y="0"/>
                </a:lnTo>
                <a:lnTo>
                  <a:pt x="228" y="53"/>
                </a:lnTo>
                <a:lnTo>
                  <a:pt x="173" y="164"/>
                </a:lnTo>
                <a:lnTo>
                  <a:pt x="125" y="279"/>
                </a:lnTo>
                <a:lnTo>
                  <a:pt x="85" y="398"/>
                </a:lnTo>
                <a:lnTo>
                  <a:pt x="51" y="520"/>
                </a:lnTo>
                <a:lnTo>
                  <a:pt x="27" y="644"/>
                </a:lnTo>
                <a:lnTo>
                  <a:pt x="10" y="771"/>
                </a:lnTo>
                <a:lnTo>
                  <a:pt x="1" y="901"/>
                </a:lnTo>
                <a:lnTo>
                  <a:pt x="0" y="967"/>
                </a:lnTo>
                <a:lnTo>
                  <a:pt x="1" y="1024"/>
                </a:lnTo>
                <a:lnTo>
                  <a:pt x="7" y="1138"/>
                </a:lnTo>
                <a:lnTo>
                  <a:pt x="20" y="1251"/>
                </a:lnTo>
                <a:lnTo>
                  <a:pt x="40" y="1361"/>
                </a:lnTo>
                <a:lnTo>
                  <a:pt x="66" y="1468"/>
                </a:lnTo>
                <a:lnTo>
                  <a:pt x="97" y="1573"/>
                </a:lnTo>
                <a:lnTo>
                  <a:pt x="134" y="1677"/>
                </a:lnTo>
                <a:lnTo>
                  <a:pt x="176" y="1777"/>
                </a:lnTo>
                <a:lnTo>
                  <a:pt x="201" y="1826"/>
                </a:lnTo>
                <a:lnTo>
                  <a:pt x="514" y="1306"/>
                </a:lnTo>
                <a:lnTo>
                  <a:pt x="1158" y="1290"/>
                </a:lnTo>
                <a:close/>
              </a:path>
            </a:pathLst>
          </a:custGeom>
          <a:solidFill>
            <a:srgbClr val="76C043"/>
          </a:solidFill>
          <a:ln>
            <a:noFill/>
          </a:ln>
        </p:spPr>
        <p:txBody>
          <a:bodyPr vert="horz" wrap="square" lIns="91440" tIns="45720" rIns="91440" bIns="3657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rPr>
              <a:t>AI</a:t>
            </a:r>
          </a:p>
        </p:txBody>
      </p:sp>
      <p:sp>
        <p:nvSpPr>
          <p:cNvPr id="12" name="Freeform 1168">
            <a:extLst>
              <a:ext uri="{FF2B5EF4-FFF2-40B4-BE49-F238E27FC236}">
                <a16:creationId xmlns:a16="http://schemas.microsoft.com/office/drawing/2014/main" id="{C1F95501-7D24-4889-B73E-CA95A38E8CD6}"/>
              </a:ext>
            </a:extLst>
          </p:cNvPr>
          <p:cNvSpPr>
            <a:spLocks/>
          </p:cNvSpPr>
          <p:nvPr/>
        </p:nvSpPr>
        <p:spPr bwMode="auto">
          <a:xfrm>
            <a:off x="4136481" y="4141116"/>
            <a:ext cx="1904940" cy="1776475"/>
          </a:xfrm>
          <a:custGeom>
            <a:avLst/>
            <a:gdLst>
              <a:gd name="T0" fmla="*/ 1564 w 1564"/>
              <a:gd name="T1" fmla="*/ 411 h 1510"/>
              <a:gd name="T2" fmla="*/ 1516 w 1564"/>
              <a:gd name="T3" fmla="*/ 403 h 1510"/>
              <a:gd name="T4" fmla="*/ 1422 w 1564"/>
              <a:gd name="T5" fmla="*/ 379 h 1510"/>
              <a:gd name="T6" fmla="*/ 1332 w 1564"/>
              <a:gd name="T7" fmla="*/ 344 h 1510"/>
              <a:gd name="T8" fmla="*/ 1248 w 1564"/>
              <a:gd name="T9" fmla="*/ 298 h 1510"/>
              <a:gd name="T10" fmla="*/ 1170 w 1564"/>
              <a:gd name="T11" fmla="*/ 245 h 1510"/>
              <a:gd name="T12" fmla="*/ 1099 w 1564"/>
              <a:gd name="T13" fmla="*/ 184 h 1510"/>
              <a:gd name="T14" fmla="*/ 1034 w 1564"/>
              <a:gd name="T15" fmla="*/ 115 h 1510"/>
              <a:gd name="T16" fmla="*/ 977 w 1564"/>
              <a:gd name="T17" fmla="*/ 40 h 1510"/>
              <a:gd name="T18" fmla="*/ 953 w 1564"/>
              <a:gd name="T19" fmla="*/ 0 h 1510"/>
              <a:gd name="T20" fmla="*/ 317 w 1564"/>
              <a:gd name="T21" fmla="*/ 17 h 1510"/>
              <a:gd name="T22" fmla="*/ 0 w 1564"/>
              <a:gd name="T23" fmla="*/ 539 h 1510"/>
              <a:gd name="T24" fmla="*/ 30 w 1564"/>
              <a:gd name="T25" fmla="*/ 591 h 1510"/>
              <a:gd name="T26" fmla="*/ 96 w 1564"/>
              <a:gd name="T27" fmla="*/ 690 h 1510"/>
              <a:gd name="T28" fmla="*/ 166 w 1564"/>
              <a:gd name="T29" fmla="*/ 783 h 1510"/>
              <a:gd name="T30" fmla="*/ 242 w 1564"/>
              <a:gd name="T31" fmla="*/ 874 h 1510"/>
              <a:gd name="T32" fmla="*/ 324 w 1564"/>
              <a:gd name="T33" fmla="*/ 958 h 1510"/>
              <a:gd name="T34" fmla="*/ 411 w 1564"/>
              <a:gd name="T35" fmla="*/ 1038 h 1510"/>
              <a:gd name="T36" fmla="*/ 501 w 1564"/>
              <a:gd name="T37" fmla="*/ 1112 h 1510"/>
              <a:gd name="T38" fmla="*/ 597 w 1564"/>
              <a:gd name="T39" fmla="*/ 1181 h 1510"/>
              <a:gd name="T40" fmla="*/ 697 w 1564"/>
              <a:gd name="T41" fmla="*/ 1244 h 1510"/>
              <a:gd name="T42" fmla="*/ 801 w 1564"/>
              <a:gd name="T43" fmla="*/ 1301 h 1510"/>
              <a:gd name="T44" fmla="*/ 908 w 1564"/>
              <a:gd name="T45" fmla="*/ 1353 h 1510"/>
              <a:gd name="T46" fmla="*/ 1020 w 1564"/>
              <a:gd name="T47" fmla="*/ 1397 h 1510"/>
              <a:gd name="T48" fmla="*/ 1134 w 1564"/>
              <a:gd name="T49" fmla="*/ 1435 h 1510"/>
              <a:gd name="T50" fmla="*/ 1252 w 1564"/>
              <a:gd name="T51" fmla="*/ 1466 h 1510"/>
              <a:gd name="T52" fmla="*/ 1371 w 1564"/>
              <a:gd name="T53" fmla="*/ 1489 h 1510"/>
              <a:gd name="T54" fmla="*/ 1494 w 1564"/>
              <a:gd name="T55" fmla="*/ 1505 h 1510"/>
              <a:gd name="T56" fmla="*/ 1557 w 1564"/>
              <a:gd name="T57" fmla="*/ 1510 h 1510"/>
              <a:gd name="T58" fmla="*/ 1261 w 1564"/>
              <a:gd name="T59" fmla="*/ 971 h 1510"/>
              <a:gd name="T60" fmla="*/ 1564 w 1564"/>
              <a:gd name="T61" fmla="*/ 411 h 1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564" h="1510">
                <a:moveTo>
                  <a:pt x="1564" y="411"/>
                </a:moveTo>
                <a:lnTo>
                  <a:pt x="1516" y="403"/>
                </a:lnTo>
                <a:lnTo>
                  <a:pt x="1422" y="379"/>
                </a:lnTo>
                <a:lnTo>
                  <a:pt x="1332" y="344"/>
                </a:lnTo>
                <a:lnTo>
                  <a:pt x="1248" y="298"/>
                </a:lnTo>
                <a:lnTo>
                  <a:pt x="1170" y="245"/>
                </a:lnTo>
                <a:lnTo>
                  <a:pt x="1099" y="184"/>
                </a:lnTo>
                <a:lnTo>
                  <a:pt x="1034" y="115"/>
                </a:lnTo>
                <a:lnTo>
                  <a:pt x="977" y="40"/>
                </a:lnTo>
                <a:lnTo>
                  <a:pt x="953" y="0"/>
                </a:lnTo>
                <a:lnTo>
                  <a:pt x="317" y="17"/>
                </a:lnTo>
                <a:lnTo>
                  <a:pt x="0" y="539"/>
                </a:lnTo>
                <a:lnTo>
                  <a:pt x="30" y="591"/>
                </a:lnTo>
                <a:lnTo>
                  <a:pt x="96" y="690"/>
                </a:lnTo>
                <a:lnTo>
                  <a:pt x="166" y="783"/>
                </a:lnTo>
                <a:lnTo>
                  <a:pt x="242" y="874"/>
                </a:lnTo>
                <a:lnTo>
                  <a:pt x="324" y="958"/>
                </a:lnTo>
                <a:lnTo>
                  <a:pt x="411" y="1038"/>
                </a:lnTo>
                <a:lnTo>
                  <a:pt x="501" y="1112"/>
                </a:lnTo>
                <a:lnTo>
                  <a:pt x="597" y="1181"/>
                </a:lnTo>
                <a:lnTo>
                  <a:pt x="697" y="1244"/>
                </a:lnTo>
                <a:lnTo>
                  <a:pt x="801" y="1301"/>
                </a:lnTo>
                <a:lnTo>
                  <a:pt x="908" y="1353"/>
                </a:lnTo>
                <a:lnTo>
                  <a:pt x="1020" y="1397"/>
                </a:lnTo>
                <a:lnTo>
                  <a:pt x="1134" y="1435"/>
                </a:lnTo>
                <a:lnTo>
                  <a:pt x="1252" y="1466"/>
                </a:lnTo>
                <a:lnTo>
                  <a:pt x="1371" y="1489"/>
                </a:lnTo>
                <a:lnTo>
                  <a:pt x="1494" y="1505"/>
                </a:lnTo>
                <a:lnTo>
                  <a:pt x="1557" y="1510"/>
                </a:lnTo>
                <a:lnTo>
                  <a:pt x="1261" y="971"/>
                </a:lnTo>
                <a:lnTo>
                  <a:pt x="1564" y="411"/>
                </a:lnTo>
                <a:close/>
              </a:path>
            </a:pathLst>
          </a:custGeom>
          <a:solidFill>
            <a:srgbClr val="0070CE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  <a:latin typeface="Bogle" panose="020B0503020203060203" pitchFamily="34" charset="0"/>
              </a:rPr>
              <a:t>Big Data Analytics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13" name="Freeform 1169">
            <a:extLst>
              <a:ext uri="{FF2B5EF4-FFF2-40B4-BE49-F238E27FC236}">
                <a16:creationId xmlns:a16="http://schemas.microsoft.com/office/drawing/2014/main" id="{3868495A-E6F3-4084-A923-7287D55D5FA2}"/>
              </a:ext>
            </a:extLst>
          </p:cNvPr>
          <p:cNvSpPr>
            <a:spLocks/>
          </p:cNvSpPr>
          <p:nvPr/>
        </p:nvSpPr>
        <p:spPr bwMode="auto">
          <a:xfrm>
            <a:off x="5822182" y="4249497"/>
            <a:ext cx="2343417" cy="1672807"/>
          </a:xfrm>
          <a:custGeom>
            <a:avLst/>
            <a:gdLst>
              <a:gd name="T0" fmla="*/ 970 w 1922"/>
              <a:gd name="T1" fmla="*/ 0 h 1419"/>
              <a:gd name="T2" fmla="*/ 940 w 1922"/>
              <a:gd name="T3" fmla="*/ 36 h 1419"/>
              <a:gd name="T4" fmla="*/ 874 w 1922"/>
              <a:gd name="T5" fmla="*/ 103 h 1419"/>
              <a:gd name="T6" fmla="*/ 800 w 1922"/>
              <a:gd name="T7" fmla="*/ 163 h 1419"/>
              <a:gd name="T8" fmla="*/ 721 w 1922"/>
              <a:gd name="T9" fmla="*/ 214 h 1419"/>
              <a:gd name="T10" fmla="*/ 635 w 1922"/>
              <a:gd name="T11" fmla="*/ 256 h 1419"/>
              <a:gd name="T12" fmla="*/ 546 w 1922"/>
              <a:gd name="T13" fmla="*/ 289 h 1419"/>
              <a:gd name="T14" fmla="*/ 451 w 1922"/>
              <a:gd name="T15" fmla="*/ 312 h 1419"/>
              <a:gd name="T16" fmla="*/ 353 w 1922"/>
              <a:gd name="T17" fmla="*/ 324 h 1419"/>
              <a:gd name="T18" fmla="*/ 301 w 1922"/>
              <a:gd name="T19" fmla="*/ 325 h 1419"/>
              <a:gd name="T20" fmla="*/ 298 w 1922"/>
              <a:gd name="T21" fmla="*/ 324 h 1419"/>
              <a:gd name="T22" fmla="*/ 0 w 1922"/>
              <a:gd name="T23" fmla="*/ 875 h 1419"/>
              <a:gd name="T24" fmla="*/ 298 w 1922"/>
              <a:gd name="T25" fmla="*/ 1419 h 1419"/>
              <a:gd name="T26" fmla="*/ 301 w 1922"/>
              <a:gd name="T27" fmla="*/ 1419 h 1419"/>
              <a:gd name="T28" fmla="*/ 364 w 1922"/>
              <a:gd name="T29" fmla="*/ 1418 h 1419"/>
              <a:gd name="T30" fmla="*/ 490 w 1922"/>
              <a:gd name="T31" fmla="*/ 1410 h 1419"/>
              <a:gd name="T32" fmla="*/ 612 w 1922"/>
              <a:gd name="T33" fmla="*/ 1394 h 1419"/>
              <a:gd name="T34" fmla="*/ 732 w 1922"/>
              <a:gd name="T35" fmla="*/ 1371 h 1419"/>
              <a:gd name="T36" fmla="*/ 849 w 1922"/>
              <a:gd name="T37" fmla="*/ 1341 h 1419"/>
              <a:gd name="T38" fmla="*/ 964 w 1922"/>
              <a:gd name="T39" fmla="*/ 1304 h 1419"/>
              <a:gd name="T40" fmla="*/ 1075 w 1922"/>
              <a:gd name="T41" fmla="*/ 1260 h 1419"/>
              <a:gd name="T42" fmla="*/ 1182 w 1922"/>
              <a:gd name="T43" fmla="*/ 1209 h 1419"/>
              <a:gd name="T44" fmla="*/ 1287 w 1922"/>
              <a:gd name="T45" fmla="*/ 1152 h 1419"/>
              <a:gd name="T46" fmla="*/ 1387 w 1922"/>
              <a:gd name="T47" fmla="*/ 1088 h 1419"/>
              <a:gd name="T48" fmla="*/ 1482 w 1922"/>
              <a:gd name="T49" fmla="*/ 1020 h 1419"/>
              <a:gd name="T50" fmla="*/ 1574 w 1922"/>
              <a:gd name="T51" fmla="*/ 946 h 1419"/>
              <a:gd name="T52" fmla="*/ 1660 w 1922"/>
              <a:gd name="T53" fmla="*/ 866 h 1419"/>
              <a:gd name="T54" fmla="*/ 1742 w 1922"/>
              <a:gd name="T55" fmla="*/ 781 h 1419"/>
              <a:gd name="T56" fmla="*/ 1819 w 1922"/>
              <a:gd name="T57" fmla="*/ 692 h 1419"/>
              <a:gd name="T58" fmla="*/ 1889 w 1922"/>
              <a:gd name="T59" fmla="*/ 597 h 1419"/>
              <a:gd name="T60" fmla="*/ 1922 w 1922"/>
              <a:gd name="T61" fmla="*/ 549 h 1419"/>
              <a:gd name="T62" fmla="*/ 1298 w 1922"/>
              <a:gd name="T63" fmla="*/ 535 h 1419"/>
              <a:gd name="T64" fmla="*/ 970 w 1922"/>
              <a:gd name="T65" fmla="*/ 0 h 1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22" h="1419">
                <a:moveTo>
                  <a:pt x="970" y="0"/>
                </a:moveTo>
                <a:lnTo>
                  <a:pt x="940" y="36"/>
                </a:lnTo>
                <a:lnTo>
                  <a:pt x="874" y="103"/>
                </a:lnTo>
                <a:lnTo>
                  <a:pt x="800" y="163"/>
                </a:lnTo>
                <a:lnTo>
                  <a:pt x="721" y="214"/>
                </a:lnTo>
                <a:lnTo>
                  <a:pt x="635" y="256"/>
                </a:lnTo>
                <a:lnTo>
                  <a:pt x="546" y="289"/>
                </a:lnTo>
                <a:lnTo>
                  <a:pt x="451" y="312"/>
                </a:lnTo>
                <a:lnTo>
                  <a:pt x="353" y="324"/>
                </a:lnTo>
                <a:lnTo>
                  <a:pt x="301" y="325"/>
                </a:lnTo>
                <a:lnTo>
                  <a:pt x="298" y="324"/>
                </a:lnTo>
                <a:lnTo>
                  <a:pt x="0" y="875"/>
                </a:lnTo>
                <a:lnTo>
                  <a:pt x="298" y="1419"/>
                </a:lnTo>
                <a:lnTo>
                  <a:pt x="301" y="1419"/>
                </a:lnTo>
                <a:lnTo>
                  <a:pt x="364" y="1418"/>
                </a:lnTo>
                <a:lnTo>
                  <a:pt x="490" y="1410"/>
                </a:lnTo>
                <a:lnTo>
                  <a:pt x="612" y="1394"/>
                </a:lnTo>
                <a:lnTo>
                  <a:pt x="732" y="1371"/>
                </a:lnTo>
                <a:lnTo>
                  <a:pt x="849" y="1341"/>
                </a:lnTo>
                <a:lnTo>
                  <a:pt x="964" y="1304"/>
                </a:lnTo>
                <a:lnTo>
                  <a:pt x="1075" y="1260"/>
                </a:lnTo>
                <a:lnTo>
                  <a:pt x="1182" y="1209"/>
                </a:lnTo>
                <a:lnTo>
                  <a:pt x="1287" y="1152"/>
                </a:lnTo>
                <a:lnTo>
                  <a:pt x="1387" y="1088"/>
                </a:lnTo>
                <a:lnTo>
                  <a:pt x="1482" y="1020"/>
                </a:lnTo>
                <a:lnTo>
                  <a:pt x="1574" y="946"/>
                </a:lnTo>
                <a:lnTo>
                  <a:pt x="1660" y="866"/>
                </a:lnTo>
                <a:lnTo>
                  <a:pt x="1742" y="781"/>
                </a:lnTo>
                <a:lnTo>
                  <a:pt x="1819" y="692"/>
                </a:lnTo>
                <a:lnTo>
                  <a:pt x="1889" y="597"/>
                </a:lnTo>
                <a:lnTo>
                  <a:pt x="1922" y="549"/>
                </a:lnTo>
                <a:lnTo>
                  <a:pt x="1298" y="535"/>
                </a:lnTo>
                <a:lnTo>
                  <a:pt x="97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vert="horz" wrap="square" lIns="91440" tIns="45720" rIns="45720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rPr>
              <a:t>Internet of Thing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7950E3F-405B-40DF-A804-9F2CD1314B6C}"/>
              </a:ext>
            </a:extLst>
          </p:cNvPr>
          <p:cNvSpPr txBox="1"/>
          <p:nvPr/>
        </p:nvSpPr>
        <p:spPr>
          <a:xfrm>
            <a:off x="1500373" y="1137423"/>
            <a:ext cx="2820963" cy="1055608"/>
          </a:xfrm>
          <a:prstGeom prst="round2DiagRect">
            <a:avLst/>
          </a:prstGeom>
          <a:noFill/>
          <a:ln>
            <a:solidFill>
              <a:srgbClr val="F47521"/>
            </a:solidFill>
          </a:ln>
        </p:spPr>
        <p:txBody>
          <a:bodyPr wrap="square" rtlCol="0">
            <a:sp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Bogle" panose="020B0503020203060203" pitchFamily="34" charset="0"/>
              </a:rPr>
              <a:t>Simple &amp; repeatable tasks (P2P process)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latin typeface="Bogle" panose="020B0503020203060203" pitchFamily="34" charset="0"/>
              </a:rPr>
              <a:t>Estimated 20-50% of FTEs can be replaced 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B359DD-90F5-465D-8DB5-929420607D44}"/>
              </a:ext>
            </a:extLst>
          </p:cNvPr>
          <p:cNvSpPr txBox="1"/>
          <p:nvPr/>
        </p:nvSpPr>
        <p:spPr>
          <a:xfrm>
            <a:off x="6662331" y="2022127"/>
            <a:ext cx="1357412" cy="363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rPr>
              <a:t>Other Tech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23" name="Callout: Bent Line with Border and Accent Bar 22">
            <a:extLst>
              <a:ext uri="{FF2B5EF4-FFF2-40B4-BE49-F238E27FC236}">
                <a16:creationId xmlns:a16="http://schemas.microsoft.com/office/drawing/2014/main" id="{B86CDF1D-CB74-4905-BFB1-A16985FF4C66}"/>
              </a:ext>
            </a:extLst>
          </p:cNvPr>
          <p:cNvSpPr/>
          <p:nvPr/>
        </p:nvSpPr>
        <p:spPr>
          <a:xfrm>
            <a:off x="8076240" y="1142776"/>
            <a:ext cx="2323929" cy="1092285"/>
          </a:xfrm>
          <a:prstGeom prst="round2DiagRect">
            <a:avLst/>
          </a:prstGeom>
          <a:noFill/>
          <a:ln>
            <a:solidFill>
              <a:srgbClr val="78B9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noProof="0" dirty="0">
                <a:solidFill>
                  <a:schemeClr val="tx1"/>
                </a:solidFill>
                <a:latin typeface="Bogle" panose="020B0503020203060203" pitchFamily="34" charset="0"/>
              </a:rPr>
              <a:t>Should Cost analyt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ogle" panose="020B0503020203060203" pitchFamily="34" charset="0"/>
              </a:rPr>
              <a:t>Cloud</a:t>
            </a:r>
            <a:r>
              <a:rPr kumimoji="0" lang="en-US" sz="1400" b="0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ogle" panose="020B0503020203060203" pitchFamily="34" charset="0"/>
              </a:rPr>
              <a:t> Comput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aseline="0" noProof="0" dirty="0">
                <a:solidFill>
                  <a:schemeClr val="tx1"/>
                </a:solidFill>
                <a:latin typeface="Bogle" panose="020B0503020203060203" pitchFamily="34" charset="0"/>
              </a:rPr>
              <a:t>VR</a:t>
            </a:r>
            <a:r>
              <a:rPr lang="en-US" sz="1400" noProof="0" dirty="0">
                <a:solidFill>
                  <a:schemeClr val="tx1"/>
                </a:solidFill>
                <a:latin typeface="Bogle" panose="020B0503020203060203" pitchFamily="34" charset="0"/>
              </a:rPr>
              <a:t> for supplier visit/audi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24" name="Callout: Bent Line with Border and Accent Bar 23">
            <a:extLst>
              <a:ext uri="{FF2B5EF4-FFF2-40B4-BE49-F238E27FC236}">
                <a16:creationId xmlns:a16="http://schemas.microsoft.com/office/drawing/2014/main" id="{ADB5464C-C54C-4AF6-8ED4-B46CF89E0D66}"/>
              </a:ext>
            </a:extLst>
          </p:cNvPr>
          <p:cNvSpPr/>
          <p:nvPr/>
        </p:nvSpPr>
        <p:spPr>
          <a:xfrm>
            <a:off x="8607733" y="3203715"/>
            <a:ext cx="2323929" cy="1319116"/>
          </a:xfrm>
          <a:prstGeom prst="round2DiagRect">
            <a:avLst/>
          </a:prstGeom>
          <a:noFill/>
          <a:ln>
            <a:solidFill>
              <a:srgbClr val="FFC2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400" dirty="0">
                <a:solidFill>
                  <a:schemeClr val="tx1"/>
                </a:solidFill>
                <a:latin typeface="Bogle" panose="020B0503020203060203" pitchFamily="34" charset="0"/>
              </a:rPr>
              <a:t>More reliable &amp; transparent process, thus reduce delivery &amp; payment ti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tx1"/>
                </a:solidFill>
                <a:latin typeface="Bogle" panose="020B0503020203060203" pitchFamily="34" charset="0"/>
              </a:rPr>
              <a:t>Data security (</a:t>
            </a:r>
            <a:r>
              <a:rPr lang="en-US" sz="1400" dirty="0" err="1">
                <a:solidFill>
                  <a:schemeClr val="tx1"/>
                </a:solidFill>
                <a:latin typeface="Bogle" panose="020B0503020203060203" pitchFamily="34" charset="0"/>
              </a:rPr>
              <a:t>eg</a:t>
            </a:r>
            <a:r>
              <a:rPr lang="en-US" sz="1400" dirty="0">
                <a:solidFill>
                  <a:schemeClr val="tx1"/>
                </a:solidFill>
                <a:latin typeface="Bogle" panose="020B0503020203060203" pitchFamily="34" charset="0"/>
              </a:rPr>
              <a:t>: contract </a:t>
            </a:r>
            <a:r>
              <a:rPr lang="en-US" sz="1400" dirty="0" err="1">
                <a:solidFill>
                  <a:schemeClr val="tx1"/>
                </a:solidFill>
                <a:latin typeface="Bogle" panose="020B0503020203060203" pitchFamily="34" charset="0"/>
              </a:rPr>
              <a:t>mgmt</a:t>
            </a:r>
            <a:r>
              <a:rPr lang="en-US" sz="1400" dirty="0">
                <a:solidFill>
                  <a:schemeClr val="tx1"/>
                </a:solidFill>
                <a:latin typeface="Bogle" panose="020B0503020203060203" pitchFamily="34" charset="0"/>
              </a:rPr>
              <a:t>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27" name="Callout: Bent Line with Border and Accent Bar 26">
            <a:extLst>
              <a:ext uri="{FF2B5EF4-FFF2-40B4-BE49-F238E27FC236}">
                <a16:creationId xmlns:a16="http://schemas.microsoft.com/office/drawing/2014/main" id="{6C7B9D8B-3759-4B35-93DE-2C36F23869EF}"/>
              </a:ext>
            </a:extLst>
          </p:cNvPr>
          <p:cNvSpPr/>
          <p:nvPr/>
        </p:nvSpPr>
        <p:spPr>
          <a:xfrm>
            <a:off x="7992028" y="5081262"/>
            <a:ext cx="2323929" cy="1092285"/>
          </a:xfrm>
          <a:prstGeom prst="round2DiagRect">
            <a:avLst/>
          </a:prstGeom>
          <a:noFill/>
          <a:ln>
            <a:solidFill>
              <a:srgbClr val="5891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ogle" panose="020B0503020203060203" pitchFamily="34" charset="0"/>
              </a:rPr>
              <a:t>Increased traceability of products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Bogle" panose="020B0503020203060203" pitchFamily="34" charset="0"/>
              </a:rPr>
              <a:t> across SC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aseline="0" dirty="0">
                <a:solidFill>
                  <a:schemeClr val="tx1"/>
                </a:solidFill>
                <a:latin typeface="Bogle" panose="020B0503020203060203" pitchFamily="34" charset="0"/>
              </a:rPr>
              <a:t>Better</a:t>
            </a:r>
            <a:r>
              <a:rPr lang="en-US" sz="1400" dirty="0">
                <a:solidFill>
                  <a:schemeClr val="tx1"/>
                </a:solidFill>
                <a:latin typeface="Bogle" panose="020B0503020203060203" pitchFamily="34" charset="0"/>
              </a:rPr>
              <a:t> inventory mgmt.</a:t>
            </a:r>
          </a:p>
        </p:txBody>
      </p:sp>
      <p:sp>
        <p:nvSpPr>
          <p:cNvPr id="28" name="Callout: Bent Line with Border and Accent Bar 27">
            <a:extLst>
              <a:ext uri="{FF2B5EF4-FFF2-40B4-BE49-F238E27FC236}">
                <a16:creationId xmlns:a16="http://schemas.microsoft.com/office/drawing/2014/main" id="{4C15C943-2161-463F-B373-8E14D4DED8A2}"/>
              </a:ext>
            </a:extLst>
          </p:cNvPr>
          <p:cNvSpPr/>
          <p:nvPr/>
        </p:nvSpPr>
        <p:spPr>
          <a:xfrm>
            <a:off x="1126273" y="2824026"/>
            <a:ext cx="2648826" cy="1388981"/>
          </a:xfrm>
          <a:prstGeom prst="round2DiagRect">
            <a:avLst/>
          </a:prstGeom>
          <a:noFill/>
          <a:ln>
            <a:solidFill>
              <a:srgbClr val="76C0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tx1"/>
                </a:solidFill>
                <a:latin typeface="Bogle" panose="020B0503020203060203" pitchFamily="34" charset="0"/>
              </a:rPr>
              <a:t>Complex Tasks that require some level of pattern recogni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ogle" panose="020B050302020306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zh-CN" sz="1400" dirty="0">
                <a:solidFill>
                  <a:schemeClr val="tx1"/>
                </a:solidFill>
                <a:latin typeface="Bogle" panose="020B0503020203060203" pitchFamily="34" charset="0"/>
              </a:rPr>
              <a:t>Categorize spend, contract and supplier data to draw actionable insigh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29" name="Callout: Bent Line with Border and Accent Bar 28">
            <a:extLst>
              <a:ext uri="{FF2B5EF4-FFF2-40B4-BE49-F238E27FC236}">
                <a16:creationId xmlns:a16="http://schemas.microsoft.com/office/drawing/2014/main" id="{90678E9C-FA74-4FE2-ABF4-677E294D39F5}"/>
              </a:ext>
            </a:extLst>
          </p:cNvPr>
          <p:cNvSpPr/>
          <p:nvPr/>
        </p:nvSpPr>
        <p:spPr>
          <a:xfrm>
            <a:off x="1817716" y="5081262"/>
            <a:ext cx="2323929" cy="1199416"/>
          </a:xfrm>
          <a:prstGeom prst="round2DiagRect">
            <a:avLst/>
          </a:prstGeom>
          <a:noFill/>
          <a:ln>
            <a:solidFill>
              <a:srgbClr val="2082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tx1"/>
                </a:solidFill>
                <a:latin typeface="Bogle" panose="020B0503020203060203" pitchFamily="34" charset="0"/>
              </a:rPr>
              <a:t>More data driven decision mak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noProof="0" dirty="0">
                <a:solidFill>
                  <a:schemeClr val="tx1"/>
                </a:solidFill>
                <a:latin typeface="Bogle" panose="020B0503020203060203" pitchFamily="34" charset="0"/>
              </a:rPr>
              <a:t>Better cost break down based on spend insights</a:t>
            </a: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76182928-D60E-0DCD-E72F-959A0A8B5826}"/>
              </a:ext>
            </a:extLst>
          </p:cNvPr>
          <p:cNvSpPr/>
          <p:nvPr/>
        </p:nvSpPr>
        <p:spPr>
          <a:xfrm>
            <a:off x="-609600" y="488950"/>
            <a:ext cx="228600" cy="228600"/>
          </a:xfrm>
          <a:prstGeom prst="rect">
            <a:avLst/>
          </a:prstGeom>
          <a:solidFill>
            <a:srgbClr val="081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81F2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47A425A3-F71A-2E66-6076-458DF82EA3FC}"/>
              </a:ext>
            </a:extLst>
          </p:cNvPr>
          <p:cNvSpPr/>
          <p:nvPr/>
        </p:nvSpPr>
        <p:spPr>
          <a:xfrm>
            <a:off x="-609600" y="829733"/>
            <a:ext cx="228600" cy="228600"/>
          </a:xfrm>
          <a:prstGeom prst="rect">
            <a:avLst/>
          </a:prstGeom>
          <a:solidFill>
            <a:srgbClr val="78B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8B9E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46867F6B-9195-BB7C-C1BF-9B71617DA5FB}"/>
              </a:ext>
            </a:extLst>
          </p:cNvPr>
          <p:cNvSpPr/>
          <p:nvPr/>
        </p:nvSpPr>
        <p:spPr>
          <a:xfrm>
            <a:off x="-609600" y="1511299"/>
            <a:ext cx="228600" cy="228600"/>
          </a:xfrm>
          <a:prstGeom prst="rect">
            <a:avLst/>
          </a:prstGeom>
          <a:solidFill>
            <a:srgbClr val="007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1C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8DADA394-689A-4BC8-A546-1FB7C45255CF}"/>
              </a:ext>
            </a:extLst>
          </p:cNvPr>
          <p:cNvSpPr/>
          <p:nvPr/>
        </p:nvSpPr>
        <p:spPr>
          <a:xfrm>
            <a:off x="-609600" y="1850319"/>
            <a:ext cx="228600" cy="228600"/>
          </a:xfrm>
          <a:prstGeom prst="rect">
            <a:avLst/>
          </a:prstGeom>
          <a:solidFill>
            <a:srgbClr val="EB14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871022E6-99CA-88C8-9F46-ED9B7FB923C4}"/>
              </a:ext>
            </a:extLst>
          </p:cNvPr>
          <p:cNvSpPr/>
          <p:nvPr/>
        </p:nvSpPr>
        <p:spPr>
          <a:xfrm>
            <a:off x="-609600" y="2189339"/>
            <a:ext cx="228600" cy="228600"/>
          </a:xfrm>
          <a:prstGeom prst="rect">
            <a:avLst/>
          </a:prstGeom>
          <a:solidFill>
            <a:srgbClr val="FFC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1367AC34-3BC1-F8FF-5E8F-5118294E98DB}"/>
              </a:ext>
            </a:extLst>
          </p:cNvPr>
          <p:cNvSpPr/>
          <p:nvPr/>
        </p:nvSpPr>
        <p:spPr>
          <a:xfrm>
            <a:off x="-609600" y="2528359"/>
            <a:ext cx="228600" cy="228600"/>
          </a:xfrm>
          <a:prstGeom prst="rect">
            <a:avLst/>
          </a:prstGeom>
          <a:solidFill>
            <a:srgbClr val="76C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98BA14E5-BC98-BC17-FC74-DBD2493EA0AF}"/>
              </a:ext>
            </a:extLst>
          </p:cNvPr>
          <p:cNvSpPr/>
          <p:nvPr/>
        </p:nvSpPr>
        <p:spPr>
          <a:xfrm>
            <a:off x="-609600" y="2867379"/>
            <a:ext cx="228600" cy="228600"/>
          </a:xfrm>
          <a:prstGeom prst="rect">
            <a:avLst/>
          </a:prstGeom>
          <a:solidFill>
            <a:srgbClr val="F475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2">
            <a:extLst>
              <a:ext uri="{FF2B5EF4-FFF2-40B4-BE49-F238E27FC236}">
                <a16:creationId xmlns:a16="http://schemas.microsoft.com/office/drawing/2014/main" id="{531C4BF6-D89F-82B2-7D0F-4FCD5995FAE2}"/>
              </a:ext>
            </a:extLst>
          </p:cNvPr>
          <p:cNvSpPr/>
          <p:nvPr/>
        </p:nvSpPr>
        <p:spPr>
          <a:xfrm>
            <a:off x="-609600" y="3206399"/>
            <a:ext cx="228600" cy="228600"/>
          </a:xfrm>
          <a:prstGeom prst="rect">
            <a:avLst/>
          </a:prstGeom>
          <a:solidFill>
            <a:srgbClr val="EE3B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3">
            <a:extLst>
              <a:ext uri="{FF2B5EF4-FFF2-40B4-BE49-F238E27FC236}">
                <a16:creationId xmlns:a16="http://schemas.microsoft.com/office/drawing/2014/main" id="{03D3F23A-F349-0710-24BF-30F55A07705B}"/>
              </a:ext>
            </a:extLst>
          </p:cNvPr>
          <p:cNvSpPr/>
          <p:nvPr/>
        </p:nvSpPr>
        <p:spPr>
          <a:xfrm>
            <a:off x="-609600" y="3545417"/>
            <a:ext cx="228600" cy="228600"/>
          </a:xfrm>
          <a:prstGeom prst="rect">
            <a:avLst/>
          </a:prstGeom>
          <a:solidFill>
            <a:srgbClr val="3F3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" name="Connecteur droit 10">
            <a:extLst>
              <a:ext uri="{FF2B5EF4-FFF2-40B4-BE49-F238E27FC236}">
                <a16:creationId xmlns:a16="http://schemas.microsoft.com/office/drawing/2014/main" id="{D169429E-F4FE-71AC-F86E-2235964AC89B}"/>
              </a:ext>
            </a:extLst>
          </p:cNvPr>
          <p:cNvCxnSpPr/>
          <p:nvPr/>
        </p:nvCxnSpPr>
        <p:spPr>
          <a:xfrm>
            <a:off x="0" y="682925"/>
            <a:ext cx="7090913" cy="0"/>
          </a:xfrm>
          <a:prstGeom prst="line">
            <a:avLst/>
          </a:prstGeom>
          <a:ln w="12700">
            <a:solidFill>
              <a:srgbClr val="78B9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5D219568-EDE0-8A49-B598-5152C7BA4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993" y="199511"/>
            <a:ext cx="9291223" cy="369332"/>
          </a:xfrm>
        </p:spPr>
        <p:txBody>
          <a:bodyPr/>
          <a:lstStyle/>
          <a:p>
            <a:r>
              <a:rPr lang="en-US" sz="2400" dirty="0"/>
              <a:t>Digital Themes for Procurement</a:t>
            </a:r>
          </a:p>
        </p:txBody>
      </p:sp>
    </p:spTree>
    <p:extLst>
      <p:ext uri="{BB962C8B-B14F-4D97-AF65-F5344CB8AC3E}">
        <p14:creationId xmlns:p14="http://schemas.microsoft.com/office/powerpoint/2010/main" val="1698548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3" grpId="0" animBg="1"/>
      <p:bldP spid="24" grpId="0" animBg="1"/>
      <p:bldP spid="27" grpId="0" animBg="1"/>
      <p:bldP spid="28" grpId="0" animBg="1"/>
      <p:bldP spid="2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63E2D-6DE0-4708-BF70-6D89B87BD2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428" y="-9113"/>
            <a:ext cx="9291223" cy="832039"/>
          </a:xfrm>
        </p:spPr>
        <p:txBody>
          <a:bodyPr/>
          <a:lstStyle/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</a:rPr>
              <a:t>Digitalization applied on P</a:t>
            </a:r>
            <a:r>
              <a:rPr lang="en-US" sz="2400" b="1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rocurement value chain</a:t>
            </a:r>
            <a:endParaRPr lang="en-US" sz="3200" dirty="0"/>
          </a:p>
        </p:txBody>
      </p:sp>
      <p:sp>
        <p:nvSpPr>
          <p:cNvPr id="8" name="Pentagon 13">
            <a:extLst>
              <a:ext uri="{FF2B5EF4-FFF2-40B4-BE49-F238E27FC236}">
                <a16:creationId xmlns:a16="http://schemas.microsoft.com/office/drawing/2014/main" id="{A261FA19-FF03-7DFD-E761-8B034F006CAD}"/>
              </a:ext>
            </a:extLst>
          </p:cNvPr>
          <p:cNvSpPr/>
          <p:nvPr/>
        </p:nvSpPr>
        <p:spPr>
          <a:xfrm>
            <a:off x="392017" y="1119320"/>
            <a:ext cx="1486363" cy="909945"/>
          </a:xfrm>
          <a:prstGeom prst="homePlate">
            <a:avLst/>
          </a:prstGeom>
          <a:solidFill>
            <a:srgbClr val="78BA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" name="Chevron 14">
            <a:extLst>
              <a:ext uri="{FF2B5EF4-FFF2-40B4-BE49-F238E27FC236}">
                <a16:creationId xmlns:a16="http://schemas.microsoft.com/office/drawing/2014/main" id="{E4020213-5F1F-1389-9EF0-A3F35D3461AA}"/>
              </a:ext>
            </a:extLst>
          </p:cNvPr>
          <p:cNvSpPr/>
          <p:nvPr/>
        </p:nvSpPr>
        <p:spPr>
          <a:xfrm>
            <a:off x="1506342" y="1119320"/>
            <a:ext cx="1841249" cy="909945"/>
          </a:xfrm>
          <a:prstGeom prst="chevron">
            <a:avLst/>
          </a:prstGeom>
          <a:solidFill>
            <a:srgbClr val="78BA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Chevron 15">
            <a:extLst>
              <a:ext uri="{FF2B5EF4-FFF2-40B4-BE49-F238E27FC236}">
                <a16:creationId xmlns:a16="http://schemas.microsoft.com/office/drawing/2014/main" id="{0DBF23DD-A273-C446-D2E6-40EBF1FAD667}"/>
              </a:ext>
            </a:extLst>
          </p:cNvPr>
          <p:cNvSpPr/>
          <p:nvPr/>
        </p:nvSpPr>
        <p:spPr>
          <a:xfrm>
            <a:off x="2975553" y="1119320"/>
            <a:ext cx="1867863" cy="909945"/>
          </a:xfrm>
          <a:prstGeom prst="chevron">
            <a:avLst/>
          </a:prstGeom>
          <a:solidFill>
            <a:srgbClr val="78BA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Chevron 16">
            <a:extLst>
              <a:ext uri="{FF2B5EF4-FFF2-40B4-BE49-F238E27FC236}">
                <a16:creationId xmlns:a16="http://schemas.microsoft.com/office/drawing/2014/main" id="{A285E065-D692-681A-DF76-10DB7ABC78E7}"/>
              </a:ext>
            </a:extLst>
          </p:cNvPr>
          <p:cNvSpPr/>
          <p:nvPr/>
        </p:nvSpPr>
        <p:spPr>
          <a:xfrm>
            <a:off x="4471378" y="1119320"/>
            <a:ext cx="2046226" cy="909945"/>
          </a:xfrm>
          <a:prstGeom prst="chevron">
            <a:avLst/>
          </a:prstGeom>
          <a:solidFill>
            <a:srgbClr val="78BA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Chevron 17">
            <a:extLst>
              <a:ext uri="{FF2B5EF4-FFF2-40B4-BE49-F238E27FC236}">
                <a16:creationId xmlns:a16="http://schemas.microsoft.com/office/drawing/2014/main" id="{A75E0F1F-D2ED-2229-536D-D1F023933760}"/>
              </a:ext>
            </a:extLst>
          </p:cNvPr>
          <p:cNvSpPr/>
          <p:nvPr/>
        </p:nvSpPr>
        <p:spPr>
          <a:xfrm>
            <a:off x="6145566" y="1119320"/>
            <a:ext cx="1872817" cy="909945"/>
          </a:xfrm>
          <a:prstGeom prst="chevron">
            <a:avLst/>
          </a:prstGeom>
          <a:solidFill>
            <a:srgbClr val="78BA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Chevron 18">
            <a:extLst>
              <a:ext uri="{FF2B5EF4-FFF2-40B4-BE49-F238E27FC236}">
                <a16:creationId xmlns:a16="http://schemas.microsoft.com/office/drawing/2014/main" id="{B610C936-01ED-51F3-8DE4-F18AE5083181}"/>
              </a:ext>
            </a:extLst>
          </p:cNvPr>
          <p:cNvSpPr/>
          <p:nvPr/>
        </p:nvSpPr>
        <p:spPr>
          <a:xfrm>
            <a:off x="7646346" y="1119320"/>
            <a:ext cx="2234070" cy="909945"/>
          </a:xfrm>
          <a:prstGeom prst="chevron">
            <a:avLst/>
          </a:prstGeom>
          <a:solidFill>
            <a:srgbClr val="78BA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" name="Chevron 19">
            <a:extLst>
              <a:ext uri="{FF2B5EF4-FFF2-40B4-BE49-F238E27FC236}">
                <a16:creationId xmlns:a16="http://schemas.microsoft.com/office/drawing/2014/main" id="{C49C750C-AC39-E48C-B345-1FD1BB78DF94}"/>
              </a:ext>
            </a:extLst>
          </p:cNvPr>
          <p:cNvSpPr/>
          <p:nvPr/>
        </p:nvSpPr>
        <p:spPr>
          <a:xfrm>
            <a:off x="9508377" y="1119320"/>
            <a:ext cx="2119317" cy="909945"/>
          </a:xfrm>
          <a:prstGeom prst="chevron">
            <a:avLst/>
          </a:prstGeom>
          <a:solidFill>
            <a:srgbClr val="78BA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" name="Rectangle 38">
            <a:extLst>
              <a:ext uri="{FF2B5EF4-FFF2-40B4-BE49-F238E27FC236}">
                <a16:creationId xmlns:a16="http://schemas.microsoft.com/office/drawing/2014/main" id="{D154867D-65D4-6206-6074-53A8F5577314}"/>
              </a:ext>
            </a:extLst>
          </p:cNvPr>
          <p:cNvSpPr/>
          <p:nvPr/>
        </p:nvSpPr>
        <p:spPr>
          <a:xfrm>
            <a:off x="1664442" y="2122630"/>
            <a:ext cx="1307142" cy="1800931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36">
            <a:extLst>
              <a:ext uri="{FF2B5EF4-FFF2-40B4-BE49-F238E27FC236}">
                <a16:creationId xmlns:a16="http://schemas.microsoft.com/office/drawing/2014/main" id="{34B75CE7-B283-08F8-5973-DC6ABEF419FA}"/>
              </a:ext>
            </a:extLst>
          </p:cNvPr>
          <p:cNvSpPr/>
          <p:nvPr/>
        </p:nvSpPr>
        <p:spPr>
          <a:xfrm>
            <a:off x="3348932" y="2122629"/>
            <a:ext cx="1406233" cy="86371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34">
            <a:extLst>
              <a:ext uri="{FF2B5EF4-FFF2-40B4-BE49-F238E27FC236}">
                <a16:creationId xmlns:a16="http://schemas.microsoft.com/office/drawing/2014/main" id="{87359995-070C-834C-E611-F2AB2BB88394}"/>
              </a:ext>
            </a:extLst>
          </p:cNvPr>
          <p:cNvSpPr/>
          <p:nvPr/>
        </p:nvSpPr>
        <p:spPr>
          <a:xfrm>
            <a:off x="4742106" y="2122629"/>
            <a:ext cx="1406233" cy="86371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32">
            <a:extLst>
              <a:ext uri="{FF2B5EF4-FFF2-40B4-BE49-F238E27FC236}">
                <a16:creationId xmlns:a16="http://schemas.microsoft.com/office/drawing/2014/main" id="{95BD2D6A-9FCA-758C-0DEF-0800FA896D40}"/>
              </a:ext>
            </a:extLst>
          </p:cNvPr>
          <p:cNvSpPr/>
          <p:nvPr/>
        </p:nvSpPr>
        <p:spPr>
          <a:xfrm>
            <a:off x="6525743" y="2122629"/>
            <a:ext cx="1406233" cy="86371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30">
            <a:extLst>
              <a:ext uri="{FF2B5EF4-FFF2-40B4-BE49-F238E27FC236}">
                <a16:creationId xmlns:a16="http://schemas.microsoft.com/office/drawing/2014/main" id="{908ED6F5-513A-C512-6DE1-C3C035DF1D7F}"/>
              </a:ext>
            </a:extLst>
          </p:cNvPr>
          <p:cNvSpPr/>
          <p:nvPr/>
        </p:nvSpPr>
        <p:spPr>
          <a:xfrm>
            <a:off x="8012106" y="2122630"/>
            <a:ext cx="1406234" cy="86371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28">
            <a:extLst>
              <a:ext uri="{FF2B5EF4-FFF2-40B4-BE49-F238E27FC236}">
                <a16:creationId xmlns:a16="http://schemas.microsoft.com/office/drawing/2014/main" id="{735197B6-B514-E0DD-E174-01A89B642F6A}"/>
              </a:ext>
            </a:extLst>
          </p:cNvPr>
          <p:cNvSpPr/>
          <p:nvPr/>
        </p:nvSpPr>
        <p:spPr>
          <a:xfrm>
            <a:off x="9706559" y="2293243"/>
            <a:ext cx="1406233" cy="86371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41">
            <a:extLst>
              <a:ext uri="{FF2B5EF4-FFF2-40B4-BE49-F238E27FC236}">
                <a16:creationId xmlns:a16="http://schemas.microsoft.com/office/drawing/2014/main" id="{E6E930E3-07EE-8F3F-6B60-09185BEEB7DF}"/>
              </a:ext>
            </a:extLst>
          </p:cNvPr>
          <p:cNvSpPr/>
          <p:nvPr/>
        </p:nvSpPr>
        <p:spPr>
          <a:xfrm>
            <a:off x="392017" y="2098398"/>
            <a:ext cx="1585454" cy="197967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1">
            <a:extLst>
              <a:ext uri="{FF2B5EF4-FFF2-40B4-BE49-F238E27FC236}">
                <a16:creationId xmlns:a16="http://schemas.microsoft.com/office/drawing/2014/main" id="{696F1732-FB4A-3F34-57ED-22B667DBC0A6}"/>
              </a:ext>
            </a:extLst>
          </p:cNvPr>
          <p:cNvSpPr/>
          <p:nvPr/>
        </p:nvSpPr>
        <p:spPr>
          <a:xfrm>
            <a:off x="346734" y="1408389"/>
            <a:ext cx="1402136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RFI/RFP/RFQ</a:t>
            </a:r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9E86F078-909B-C625-D6C4-F1CA8B4B55E0}"/>
              </a:ext>
            </a:extLst>
          </p:cNvPr>
          <p:cNvSpPr/>
          <p:nvPr/>
        </p:nvSpPr>
        <p:spPr>
          <a:xfrm>
            <a:off x="1794153" y="1308890"/>
            <a:ext cx="1402136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Conduct Negotiation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70282FFC-6A63-83D6-8DC7-8A37238997A2}"/>
              </a:ext>
            </a:extLst>
          </p:cNvPr>
          <p:cNvSpPr/>
          <p:nvPr/>
        </p:nvSpPr>
        <p:spPr>
          <a:xfrm>
            <a:off x="3368506" y="1306329"/>
            <a:ext cx="1057588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Award Contract</a:t>
            </a:r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ABE593C8-1347-37E0-2477-06743FC0863E}"/>
              </a:ext>
            </a:extLst>
          </p:cNvPr>
          <p:cNvSpPr/>
          <p:nvPr/>
        </p:nvSpPr>
        <p:spPr>
          <a:xfrm>
            <a:off x="4875532" y="1356580"/>
            <a:ext cx="137278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Raise PR</a:t>
            </a:r>
          </a:p>
        </p:txBody>
      </p:sp>
      <p:sp>
        <p:nvSpPr>
          <p:cNvPr id="26" name="Rectangle 5">
            <a:extLst>
              <a:ext uri="{FF2B5EF4-FFF2-40B4-BE49-F238E27FC236}">
                <a16:creationId xmlns:a16="http://schemas.microsoft.com/office/drawing/2014/main" id="{A898320A-E105-E1AA-B8CE-8F16D178912C}"/>
              </a:ext>
            </a:extLst>
          </p:cNvPr>
          <p:cNvSpPr/>
          <p:nvPr/>
        </p:nvSpPr>
        <p:spPr>
          <a:xfrm>
            <a:off x="6518677" y="1345803"/>
            <a:ext cx="1200514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Place PO</a:t>
            </a:r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6D9BD75B-019C-2E2A-11C3-0B5907EB1295}"/>
              </a:ext>
            </a:extLst>
          </p:cNvPr>
          <p:cNvSpPr/>
          <p:nvPr/>
        </p:nvSpPr>
        <p:spPr>
          <a:xfrm>
            <a:off x="8127822" y="1201017"/>
            <a:ext cx="1514366" cy="769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Goods Receipt/Storage/Distribution</a:t>
            </a:r>
          </a:p>
        </p:txBody>
      </p:sp>
      <p:sp>
        <p:nvSpPr>
          <p:cNvPr id="28" name="Rectangle 7">
            <a:extLst>
              <a:ext uri="{FF2B5EF4-FFF2-40B4-BE49-F238E27FC236}">
                <a16:creationId xmlns:a16="http://schemas.microsoft.com/office/drawing/2014/main" id="{78BE6B66-46A5-2D28-32E8-415DDF929ECC}"/>
              </a:ext>
            </a:extLst>
          </p:cNvPr>
          <p:cNvSpPr/>
          <p:nvPr/>
        </p:nvSpPr>
        <p:spPr>
          <a:xfrm>
            <a:off x="9880415" y="1399574"/>
            <a:ext cx="1547196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Make Payment</a:t>
            </a:r>
          </a:p>
        </p:txBody>
      </p:sp>
      <p:sp>
        <p:nvSpPr>
          <p:cNvPr id="29" name="TextBox 52">
            <a:extLst>
              <a:ext uri="{FF2B5EF4-FFF2-40B4-BE49-F238E27FC236}">
                <a16:creationId xmlns:a16="http://schemas.microsoft.com/office/drawing/2014/main" id="{4BF32CE4-97FF-B749-C132-1FFC7D1FE911}"/>
              </a:ext>
            </a:extLst>
          </p:cNvPr>
          <p:cNvSpPr txBox="1"/>
          <p:nvPr/>
        </p:nvSpPr>
        <p:spPr>
          <a:xfrm>
            <a:off x="3240486" y="2824320"/>
            <a:ext cx="1432992" cy="527825"/>
          </a:xfrm>
          <a:prstGeom prst="rect">
            <a:avLst/>
          </a:prstGeom>
          <a:noFill/>
        </p:spPr>
        <p:txBody>
          <a:bodyPr wrap="square" lIns="96000" tIns="48000" rIns="96000" bIns="4800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</a:rPr>
              <a:t>Digital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</a:rPr>
              <a:t> 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</a:rPr>
              <a:t>Contract &amp; eSignature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30" name="Rectangle 53">
            <a:extLst>
              <a:ext uri="{FF2B5EF4-FFF2-40B4-BE49-F238E27FC236}">
                <a16:creationId xmlns:a16="http://schemas.microsoft.com/office/drawing/2014/main" id="{448B5EF8-3085-DD0F-23AC-1B578C9ABB40}"/>
              </a:ext>
            </a:extLst>
          </p:cNvPr>
          <p:cNvSpPr/>
          <p:nvPr/>
        </p:nvSpPr>
        <p:spPr>
          <a:xfrm>
            <a:off x="392017" y="2580632"/>
            <a:ext cx="960519" cy="2862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defTabSz="592652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E-Tender</a:t>
            </a:r>
          </a:p>
        </p:txBody>
      </p:sp>
      <p:sp>
        <p:nvSpPr>
          <p:cNvPr id="31" name="Rectangle 54">
            <a:extLst>
              <a:ext uri="{FF2B5EF4-FFF2-40B4-BE49-F238E27FC236}">
                <a16:creationId xmlns:a16="http://schemas.microsoft.com/office/drawing/2014/main" id="{1D381113-76A4-09AB-A405-AECBF7D4F175}"/>
              </a:ext>
            </a:extLst>
          </p:cNvPr>
          <p:cNvSpPr/>
          <p:nvPr/>
        </p:nvSpPr>
        <p:spPr>
          <a:xfrm>
            <a:off x="1816000" y="4924732"/>
            <a:ext cx="1029449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E-Auction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7F09C88F-AC74-DB7D-01B6-B9F4477095D3}"/>
              </a:ext>
            </a:extLst>
          </p:cNvPr>
          <p:cNvSpPr/>
          <p:nvPr/>
        </p:nvSpPr>
        <p:spPr>
          <a:xfrm>
            <a:off x="5160524" y="4468131"/>
            <a:ext cx="583814" cy="2862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defTabSz="592652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Arial" panose="020B0604020202020204" pitchFamily="34" charset="0"/>
              </a:rPr>
              <a:t>MRP</a:t>
            </a:r>
          </a:p>
        </p:txBody>
      </p:sp>
      <p:sp>
        <p:nvSpPr>
          <p:cNvPr id="33" name="Rectangle 55">
            <a:extLst>
              <a:ext uri="{FF2B5EF4-FFF2-40B4-BE49-F238E27FC236}">
                <a16:creationId xmlns:a16="http://schemas.microsoft.com/office/drawing/2014/main" id="{A2D63F9F-CC87-3208-7F62-C05A20648F18}"/>
              </a:ext>
            </a:extLst>
          </p:cNvPr>
          <p:cNvSpPr/>
          <p:nvPr/>
        </p:nvSpPr>
        <p:spPr>
          <a:xfrm>
            <a:off x="6655440" y="3394768"/>
            <a:ext cx="889987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</a:rPr>
              <a:t>I-CATLOG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34" name="Rectangle 55">
            <a:extLst>
              <a:ext uri="{FF2B5EF4-FFF2-40B4-BE49-F238E27FC236}">
                <a16:creationId xmlns:a16="http://schemas.microsoft.com/office/drawing/2014/main" id="{7AC534B1-861B-E573-D5C6-ECDBA5F51598}"/>
              </a:ext>
            </a:extLst>
          </p:cNvPr>
          <p:cNvSpPr/>
          <p:nvPr/>
        </p:nvSpPr>
        <p:spPr>
          <a:xfrm>
            <a:off x="8001950" y="2262256"/>
            <a:ext cx="1644397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</a:rPr>
              <a:t>MRP/ERP – inventory module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</a:endParaRPr>
          </a:p>
        </p:txBody>
      </p:sp>
      <p:sp>
        <p:nvSpPr>
          <p:cNvPr id="35" name="Rectangle 55">
            <a:extLst>
              <a:ext uri="{FF2B5EF4-FFF2-40B4-BE49-F238E27FC236}">
                <a16:creationId xmlns:a16="http://schemas.microsoft.com/office/drawing/2014/main" id="{4ACF8B01-056C-5493-E826-49F531BE328B}"/>
              </a:ext>
            </a:extLst>
          </p:cNvPr>
          <p:cNvSpPr/>
          <p:nvPr/>
        </p:nvSpPr>
        <p:spPr>
          <a:xfrm>
            <a:off x="9785017" y="3674679"/>
            <a:ext cx="1563504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</a:rPr>
              <a:t>Vendor Portal/   Digital Invoicing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</a:endParaRPr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A449BE3C-53AB-ACC9-C6FA-B7EFDFA2BD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388" y="2818072"/>
            <a:ext cx="1354579" cy="951500"/>
          </a:xfrm>
          <a:prstGeom prst="rect">
            <a:avLst/>
          </a:prstGeom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EBE8CA3C-3E92-F100-DCC8-57B67792F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7817" y="5266890"/>
            <a:ext cx="760392" cy="909195"/>
          </a:xfrm>
          <a:prstGeom prst="rect">
            <a:avLst/>
          </a:prstGeom>
        </p:spPr>
      </p:pic>
      <p:pic>
        <p:nvPicPr>
          <p:cNvPr id="38" name="图片 37">
            <a:extLst>
              <a:ext uri="{FF2B5EF4-FFF2-40B4-BE49-F238E27FC236}">
                <a16:creationId xmlns:a16="http://schemas.microsoft.com/office/drawing/2014/main" id="{DA210409-015D-CEF5-3EDE-7540698CCC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7037" l="9914" r="96552">
                        <a14:foregroundMark x1="87931" y1="95185" x2="87931" y2="95185"/>
                        <a14:foregroundMark x1="96552" y1="92593" x2="96552" y2="92593"/>
                        <a14:foregroundMark x1="77586" y1="97037" x2="77586" y2="97037"/>
                        <a14:foregroundMark x1="9914" y1="33333" x2="9914" y2="3333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92601" y="3163492"/>
            <a:ext cx="1019145" cy="1134545"/>
          </a:xfrm>
          <a:prstGeom prst="rect">
            <a:avLst/>
          </a:prstGeom>
        </p:spPr>
      </p:pic>
      <p:pic>
        <p:nvPicPr>
          <p:cNvPr id="39" name="图片 38">
            <a:extLst>
              <a:ext uri="{FF2B5EF4-FFF2-40B4-BE49-F238E27FC236}">
                <a16:creationId xmlns:a16="http://schemas.microsoft.com/office/drawing/2014/main" id="{6A7C73BC-D6F2-2B44-C297-C0D8A4DB64F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8148" b="90741" l="0" r="61420">
                        <a14:foregroundMark x1="2778" y1="35926" x2="2778" y2="35926"/>
                        <a14:foregroundMark x1="48457" y1="72222" x2="48457" y2="72222"/>
                        <a14:foregroundMark x1="45679" y1="75185" x2="45679" y2="75185"/>
                        <a14:foregroundMark x1="53704" y1="68148" x2="53704" y2="68148"/>
                        <a14:foregroundMark x1="61420" y1="67778" x2="61420" y2="67778"/>
                        <a14:foregroundMark x1="46296" y1="72593" x2="46296" y2="72593"/>
                        <a14:foregroundMark x1="55556" y1="67778" x2="55556" y2="67778"/>
                        <a14:foregroundMark x1="60494" y1="67407" x2="60494" y2="67407"/>
                        <a14:foregroundMark x1="5556" y1="36296" x2="5556" y2="36296"/>
                        <a14:foregroundMark x1="9568" y1="38519" x2="9568" y2="38519"/>
                        <a14:foregroundMark x1="6173" y1="40741" x2="6173" y2="40741"/>
                        <a14:foregroundMark x1="11111" y1="37037" x2="11111" y2="37037"/>
                        <a14:foregroundMark x1="6173" y1="32593" x2="6173" y2="32593"/>
                        <a14:foregroundMark x1="4321" y1="28148" x2="4321" y2="28148"/>
                        <a14:foregroundMark x1="3086" y1="26667" x2="3086" y2="26667"/>
                        <a14:foregroundMark x1="0" y1="46296" x2="0" y2="46296"/>
                        <a14:foregroundMark x1="34877" y1="60741" x2="34877" y2="60741"/>
                        <a14:foregroundMark x1="33025" y1="65926" x2="33025" y2="65926"/>
                        <a14:foregroundMark x1="32716" y1="75556" x2="32716" y2="75556"/>
                        <a14:foregroundMark x1="35185" y1="69259" x2="35185" y2="69259"/>
                        <a14:foregroundMark x1="35185" y1="72222" x2="35185" y2="72222"/>
                        <a14:foregroundMark x1="34259" y1="75185" x2="34259" y2="75185"/>
                        <a14:foregroundMark x1="33642" y1="81111" x2="33642" y2="81111"/>
                        <a14:foregroundMark x1="33333" y1="84815" x2="33333" y2="84815"/>
                        <a14:foregroundMark x1="32716" y1="90741" x2="32716" y2="90741"/>
                        <a14:foregroundMark x1="33951" y1="85556" x2="33951" y2="85556"/>
                        <a14:foregroundMark x1="33951" y1="74815" x2="33951" y2="74815"/>
                        <a14:foregroundMark x1="12654" y1="36667" x2="12654" y2="36667"/>
                        <a14:foregroundMark x1="29938" y1="8148" x2="29938" y2="8148"/>
                      </a14:backgroundRemoval>
                    </a14:imgEffect>
                  </a14:imgLayer>
                </a14:imgProps>
              </a:ext>
            </a:extLst>
          </a:blip>
          <a:srcRect r="35625"/>
          <a:stretch/>
        </p:blipFill>
        <p:spPr>
          <a:xfrm>
            <a:off x="8303470" y="2763490"/>
            <a:ext cx="958171" cy="1186472"/>
          </a:xfrm>
          <a:prstGeom prst="rect">
            <a:avLst/>
          </a:prstGeom>
        </p:spPr>
      </p:pic>
      <p:pic>
        <p:nvPicPr>
          <p:cNvPr id="40" name="图片 39">
            <a:extLst>
              <a:ext uri="{FF2B5EF4-FFF2-40B4-BE49-F238E27FC236}">
                <a16:creationId xmlns:a16="http://schemas.microsoft.com/office/drawing/2014/main" id="{4AF115A8-82F8-8A29-53B6-AEDBE89D4B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3882" y="3807879"/>
            <a:ext cx="826108" cy="817467"/>
          </a:xfrm>
          <a:prstGeom prst="rect">
            <a:avLst/>
          </a:prstGeom>
        </p:spPr>
      </p:pic>
      <p:pic>
        <p:nvPicPr>
          <p:cNvPr id="41" name="图片 40">
            <a:extLst>
              <a:ext uri="{FF2B5EF4-FFF2-40B4-BE49-F238E27FC236}">
                <a16:creationId xmlns:a16="http://schemas.microsoft.com/office/drawing/2014/main" id="{C058FC4B-5AF3-29B1-DAC1-000BA200A9A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023" b="98872" l="9916" r="89451">
                        <a14:foregroundMark x1="50633" y1="47368" x2="50633" y2="47368"/>
                        <a14:foregroundMark x1="44515" y1="27820" x2="44515" y2="27820"/>
                        <a14:foregroundMark x1="37764" y1="21805" x2="37764" y2="21805"/>
                        <a14:foregroundMark x1="36287" y1="25188" x2="36287" y2="25188"/>
                        <a14:foregroundMark x1="52532" y1="25940" x2="52532" y2="25940"/>
                        <a14:foregroundMark x1="56540" y1="24436" x2="56540" y2="24436"/>
                        <a14:foregroundMark x1="65190" y1="25188" x2="65190" y2="25188"/>
                        <a14:foregroundMark x1="60759" y1="21805" x2="60759" y2="21805"/>
                        <a14:foregroundMark x1="57384" y1="19173" x2="57384" y2="19173"/>
                        <a14:foregroundMark x1="48734" y1="22556" x2="48734" y2="22556"/>
                        <a14:foregroundMark x1="44937" y1="24436" x2="44937" y2="24436"/>
                        <a14:foregroundMark x1="43460" y1="22556" x2="43460" y2="22556"/>
                        <a14:foregroundMark x1="35232" y1="22556" x2="35232" y2="22556"/>
                        <a14:foregroundMark x1="40717" y1="23308" x2="40717" y2="23308"/>
                        <a14:foregroundMark x1="58439" y1="24436" x2="58439" y2="24436"/>
                        <a14:foregroundMark x1="57384" y1="23308" x2="57384" y2="23308"/>
                        <a14:foregroundMark x1="48312" y1="51880" x2="48312" y2="51880"/>
                        <a14:foregroundMark x1="48312" y1="37970" x2="48312" y2="37970"/>
                        <a14:foregroundMark x1="49367" y1="35338" x2="49367" y2="35338"/>
                        <a14:foregroundMark x1="44515" y1="39850" x2="44515" y2="39850"/>
                        <a14:foregroundMark x1="47890" y1="50752" x2="47890" y2="50752"/>
                        <a14:foregroundMark x1="67089" y1="24436" x2="67089" y2="24436"/>
                        <a14:foregroundMark x1="62658" y1="22556" x2="62658" y2="22556"/>
                        <a14:foregroundMark x1="65612" y1="22556" x2="65612" y2="22556"/>
                        <a14:foregroundMark x1="44937" y1="23308" x2="44937" y2="23308"/>
                        <a14:foregroundMark x1="45992" y1="25940" x2="45992" y2="25940"/>
                        <a14:foregroundMark x1="50633" y1="46617" x2="50633" y2="46617"/>
                        <a14:foregroundMark x1="48312" y1="41353" x2="48312" y2="41353"/>
                        <a14:foregroundMark x1="49789" y1="37970" x2="49789" y2="37970"/>
                        <a14:foregroundMark x1="53165" y1="36466" x2="53165" y2="36466"/>
                        <a14:foregroundMark x1="53165" y1="31955" x2="53165" y2="31955"/>
                        <a14:foregroundMark x1="51266" y1="43985" x2="51266" y2="43985"/>
                        <a14:foregroundMark x1="51688" y1="39850" x2="51688" y2="39850"/>
                        <a14:foregroundMark x1="51266" y1="39850" x2="51266" y2="39850"/>
                        <a14:foregroundMark x1="48312" y1="33835" x2="48312" y2="33835"/>
                        <a14:foregroundMark x1="48312" y1="31203" x2="48312" y2="31203"/>
                        <a14:foregroundMark x1="53586" y1="47368" x2="53586" y2="47368"/>
                        <a14:foregroundMark x1="49789" y1="47368" x2="49789" y2="47368"/>
                        <a14:foregroundMark x1="48312" y1="49248" x2="48312" y2="49248"/>
                        <a14:foregroundMark x1="47257" y1="55263" x2="47257" y2="55263"/>
                        <a14:foregroundMark x1="44937" y1="52632" x2="44937" y2="52632"/>
                        <a14:foregroundMark x1="49789" y1="50000" x2="49789" y2="50000"/>
                        <a14:foregroundMark x1="52110" y1="34586" x2="52110" y2="34586"/>
                        <a14:foregroundMark x1="52532" y1="35338" x2="52532" y2="35338"/>
                        <a14:foregroundMark x1="37342" y1="74060" x2="37342" y2="74060"/>
                        <a14:foregroundMark x1="32911" y1="95489" x2="32911" y2="95489"/>
                        <a14:foregroundMark x1="63713" y1="95489" x2="63713" y2="95489"/>
                        <a14:foregroundMark x1="54008" y1="44737" x2="54008" y2="44737"/>
                        <a14:foregroundMark x1="46414" y1="52632" x2="46414" y2="52632"/>
                        <a14:foregroundMark x1="45992" y1="51880" x2="45992" y2="51880"/>
                        <a14:foregroundMark x1="54008" y1="51880" x2="54008" y2="51880"/>
                        <a14:foregroundMark x1="48734" y1="72180" x2="48734" y2="72180"/>
                        <a14:foregroundMark x1="36709" y1="77444" x2="36709" y2="77444"/>
                        <a14:foregroundMark x1="20464" y1="72180" x2="20464" y2="72180"/>
                        <a14:foregroundMark x1="41983" y1="71429" x2="41983" y2="71429"/>
                        <a14:foregroundMark x1="58861" y1="72180" x2="58861" y2="72180"/>
                        <a14:foregroundMark x1="70042" y1="72180" x2="70042" y2="72180"/>
                        <a14:foregroundMark x1="75316" y1="74060" x2="75316" y2="74060"/>
                        <a14:foregroundMark x1="50633" y1="68045" x2="50633" y2="68045"/>
                        <a14:foregroundMark x1="43038" y1="69549" x2="43038" y2="69549"/>
                        <a14:foregroundMark x1="27215" y1="71429" x2="27215" y2="71429"/>
                        <a14:foregroundMark x1="55485" y1="79323" x2="55485" y2="79323"/>
                        <a14:foregroundMark x1="77215" y1="68797" x2="77215" y2="68797"/>
                        <a14:foregroundMark x1="75738" y1="70677" x2="75738" y2="70677"/>
                        <a14:foregroundMark x1="74684" y1="75564" x2="74684" y2="75564"/>
                        <a14:foregroundMark x1="81013" y1="78195" x2="81013" y2="78195"/>
                        <a14:foregroundMark x1="79114" y1="70677" x2="79114" y2="70677"/>
                        <a14:foregroundMark x1="81013" y1="74812" x2="81013" y2="74812"/>
                        <a14:foregroundMark x1="82911" y1="75564" x2="82911" y2="75564"/>
                        <a14:foregroundMark x1="75738" y1="65414" x2="75738" y2="65414"/>
                        <a14:foregroundMark x1="68987" y1="64662" x2="68987" y2="64662"/>
                        <a14:foregroundMark x1="58439" y1="60150" x2="58439" y2="60150"/>
                        <a14:foregroundMark x1="73207" y1="65414" x2="73207" y2="65414"/>
                        <a14:foregroundMark x1="55063" y1="67293" x2="55063" y2="67293"/>
                        <a14:foregroundMark x1="54008" y1="55263" x2="54008" y2="55263"/>
                        <a14:foregroundMark x1="49789" y1="52632" x2="49789" y2="52632"/>
                        <a14:foregroundMark x1="46414" y1="50000" x2="46414" y2="50000"/>
                        <a14:foregroundMark x1="45359" y1="50752" x2="45359" y2="50752"/>
                        <a14:foregroundMark x1="42616" y1="56767" x2="42616" y2="56767"/>
                        <a14:foregroundMark x1="41561" y1="59398" x2="44937" y2="59398"/>
                        <a14:foregroundMark x1="48734" y1="60150" x2="48734" y2="60150"/>
                        <a14:foregroundMark x1="48734" y1="55263" x2="48734" y2="55263"/>
                        <a14:foregroundMark x1="48734" y1="55263" x2="48734" y2="55263"/>
                        <a14:foregroundMark x1="50211" y1="43985" x2="50211" y2="43985"/>
                        <a14:foregroundMark x1="44515" y1="43233" x2="44515" y2="43233"/>
                        <a14:foregroundMark x1="43882" y1="66165" x2="42616" y2="68045"/>
                        <a14:foregroundMark x1="31013" y1="69549" x2="31013" y2="69549"/>
                        <a14:foregroundMark x1="27637" y1="68045" x2="27637" y2="68045"/>
                        <a14:foregroundMark x1="24262" y1="73308" x2="24262" y2="73308"/>
                        <a14:foregroundMark x1="20886" y1="74060" x2="20886" y2="74060"/>
                        <a14:foregroundMark x1="20886" y1="74060" x2="20886" y2="74060"/>
                        <a14:foregroundMark x1="18987" y1="78195" x2="18987" y2="78195"/>
                        <a14:foregroundMark x1="17932" y1="75564" x2="17932" y2="75564"/>
                        <a14:foregroundMark x1="17932" y1="75564" x2="17932" y2="75564"/>
                        <a14:foregroundMark x1="43882" y1="68045" x2="43882" y2="68045"/>
                        <a14:foregroundMark x1="53165" y1="64662" x2="53165" y2="64662"/>
                        <a14:foregroundMark x1="48734" y1="64662" x2="48734" y2="64662"/>
                        <a14:foregroundMark x1="38186" y1="62782" x2="38186" y2="62782"/>
                        <a14:foregroundMark x1="34388" y1="62782" x2="34388" y2="62782"/>
                        <a14:foregroundMark x1="49367" y1="48120" x2="49367" y2="48120"/>
                        <a14:foregroundMark x1="24262" y1="66165" x2="24262" y2="66165"/>
                        <a14:foregroundMark x1="24262" y1="66165" x2="24262" y2="66165"/>
                        <a14:foregroundMark x1="24262" y1="66165" x2="24262" y2="66165"/>
                        <a14:foregroundMark x1="24262" y1="66165" x2="24262" y2="66165"/>
                        <a14:foregroundMark x1="45359" y1="71429" x2="45359" y2="71429"/>
                        <a14:foregroundMark x1="26582" y1="62030" x2="26582" y2="62030"/>
                        <a14:foregroundMark x1="27637" y1="64662" x2="27637" y2="64662"/>
                        <a14:foregroundMark x1="17089" y1="78195" x2="17089" y2="78195"/>
                        <a14:foregroundMark x1="17089" y1="74812" x2="17089" y2="74812"/>
                        <a14:foregroundMark x1="24684" y1="68045" x2="24684" y2="68045"/>
                        <a14:foregroundMark x1="24262" y1="64662" x2="24262" y2="64662"/>
                        <a14:foregroundMark x1="45359" y1="43233" x2="45359" y2="43233"/>
                        <a14:foregroundMark x1="24262" y1="70677" x2="24262" y2="70677"/>
                        <a14:foregroundMark x1="23207" y1="68045" x2="23207" y2="68045"/>
                        <a14:foregroundMark x1="49789" y1="34586" x2="49789" y2="34586"/>
                        <a14:foregroundMark x1="49789" y1="34586" x2="49789" y2="34586"/>
                        <a14:foregroundMark x1="49789" y1="34586" x2="49789" y2="34586"/>
                        <a14:foregroundMark x1="49789" y1="34586" x2="49789" y2="34586"/>
                        <a14:foregroundMark x1="51688" y1="33835" x2="51688" y2="33835"/>
                        <a14:foregroundMark x1="51688" y1="33835" x2="51688" y2="33835"/>
                        <a14:foregroundMark x1="63291" y1="96241" x2="63291" y2="96241"/>
                        <a14:foregroundMark x1="63291" y1="98872" x2="63291" y2="98872"/>
                        <a14:foregroundMark x1="62236" y1="98120" x2="62236" y2="98120"/>
                        <a14:foregroundMark x1="61392" y1="96992" x2="61392" y2="96992"/>
                        <a14:foregroundMark x1="61392" y1="96992" x2="61392" y2="969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20696" y="4202708"/>
            <a:ext cx="1522122" cy="817077"/>
          </a:xfrm>
          <a:prstGeom prst="rect">
            <a:avLst/>
          </a:prstGeom>
        </p:spPr>
      </p:pic>
      <p:pic>
        <p:nvPicPr>
          <p:cNvPr id="42" name="图片 41">
            <a:extLst>
              <a:ext uri="{FF2B5EF4-FFF2-40B4-BE49-F238E27FC236}">
                <a16:creationId xmlns:a16="http://schemas.microsoft.com/office/drawing/2014/main" id="{20D09097-50AF-6C6A-A4F3-471C6B7C7C8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70732" y="4763314"/>
            <a:ext cx="947792" cy="1073624"/>
          </a:xfrm>
          <a:prstGeom prst="rect">
            <a:avLst/>
          </a:prstGeom>
        </p:spPr>
      </p:pic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A6A31353-16D4-5194-D866-17BCF6516FF7}"/>
              </a:ext>
            </a:extLst>
          </p:cNvPr>
          <p:cNvCxnSpPr>
            <a:cxnSpLocks/>
            <a:endCxn id="30" idx="0"/>
          </p:cNvCxnSpPr>
          <p:nvPr/>
        </p:nvCxnSpPr>
        <p:spPr>
          <a:xfrm>
            <a:off x="872277" y="2122630"/>
            <a:ext cx="0" cy="458002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FDDB6A7C-CD49-C586-419D-90CE8083BA64}"/>
              </a:ext>
            </a:extLst>
          </p:cNvPr>
          <p:cNvCxnSpPr>
            <a:cxnSpLocks/>
          </p:cNvCxnSpPr>
          <p:nvPr/>
        </p:nvCxnSpPr>
        <p:spPr>
          <a:xfrm>
            <a:off x="2318012" y="2114282"/>
            <a:ext cx="0" cy="2630482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5" name="直接连接符 44">
            <a:extLst>
              <a:ext uri="{FF2B5EF4-FFF2-40B4-BE49-F238E27FC236}">
                <a16:creationId xmlns:a16="http://schemas.microsoft.com/office/drawing/2014/main" id="{D5E64B78-8451-E53C-493D-4E5E4FE9180C}"/>
              </a:ext>
            </a:extLst>
          </p:cNvPr>
          <p:cNvCxnSpPr/>
          <p:nvPr/>
        </p:nvCxnSpPr>
        <p:spPr>
          <a:xfrm>
            <a:off x="3802173" y="2122629"/>
            <a:ext cx="0" cy="491832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874B724F-76BA-3620-910A-51DE90CEB76B}"/>
              </a:ext>
            </a:extLst>
          </p:cNvPr>
          <p:cNvCxnSpPr>
            <a:cxnSpLocks/>
          </p:cNvCxnSpPr>
          <p:nvPr/>
        </p:nvCxnSpPr>
        <p:spPr>
          <a:xfrm>
            <a:off x="5444629" y="2062652"/>
            <a:ext cx="0" cy="2235384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B8DD2941-9336-9346-A994-B98914A3CA34}"/>
              </a:ext>
            </a:extLst>
          </p:cNvPr>
          <p:cNvCxnSpPr>
            <a:cxnSpLocks/>
          </p:cNvCxnSpPr>
          <p:nvPr/>
        </p:nvCxnSpPr>
        <p:spPr>
          <a:xfrm>
            <a:off x="7056935" y="2062652"/>
            <a:ext cx="0" cy="1231169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FA36F33B-1507-1274-B621-E79D91FF3142}"/>
              </a:ext>
            </a:extLst>
          </p:cNvPr>
          <p:cNvCxnSpPr>
            <a:cxnSpLocks/>
          </p:cNvCxnSpPr>
          <p:nvPr/>
        </p:nvCxnSpPr>
        <p:spPr>
          <a:xfrm>
            <a:off x="8637761" y="2033884"/>
            <a:ext cx="0" cy="259359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9" name="直接连接符 48">
            <a:extLst>
              <a:ext uri="{FF2B5EF4-FFF2-40B4-BE49-F238E27FC236}">
                <a16:creationId xmlns:a16="http://schemas.microsoft.com/office/drawing/2014/main" id="{D9816BE3-0F69-B277-3E07-0327045A13FF}"/>
              </a:ext>
            </a:extLst>
          </p:cNvPr>
          <p:cNvCxnSpPr>
            <a:cxnSpLocks/>
          </p:cNvCxnSpPr>
          <p:nvPr/>
        </p:nvCxnSpPr>
        <p:spPr>
          <a:xfrm>
            <a:off x="10398538" y="2029579"/>
            <a:ext cx="11137" cy="1519077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147618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  <p:bldP spid="31" grpId="0"/>
      <p:bldP spid="32" grpId="0"/>
      <p:bldP spid="33" grpId="0"/>
      <p:bldP spid="34" grpId="0"/>
      <p:bldP spid="3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0ADEDB3-5003-DB16-ADC6-0987E1CD0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90" y="189770"/>
            <a:ext cx="9291223" cy="832039"/>
          </a:xfrm>
        </p:spPr>
        <p:txBody>
          <a:bodyPr/>
          <a:lstStyle/>
          <a:p>
            <a:r>
              <a:rPr lang="en-US" altLang="zh-CN" sz="2400" dirty="0"/>
              <a:t>Digital Procurement Ecosystem – Multiple players &amp; solutions</a:t>
            </a:r>
            <a:endParaRPr lang="en-US" sz="240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4A11E52-5A82-64E3-45F1-29B81E5EE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090" y="928687"/>
            <a:ext cx="10849268" cy="5567806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ECB9FD8D-42D5-4D43-99F3-685314DC8033}"/>
              </a:ext>
            </a:extLst>
          </p:cNvPr>
          <p:cNvSpPr txBox="1"/>
          <p:nvPr/>
        </p:nvSpPr>
        <p:spPr>
          <a:xfrm>
            <a:off x="618090" y="6211030"/>
            <a:ext cx="7028121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/>
              <a:t>Resource:  https://www.kodiakhub.com/blog/the-hitchhikers-guide-to-digital-procurement</a:t>
            </a:r>
          </a:p>
        </p:txBody>
      </p:sp>
    </p:spTree>
    <p:extLst>
      <p:ext uri="{BB962C8B-B14F-4D97-AF65-F5344CB8AC3E}">
        <p14:creationId xmlns:p14="http://schemas.microsoft.com/office/powerpoint/2010/main" val="2280032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ectangle: Rounded Corners 89">
            <a:extLst>
              <a:ext uri="{FF2B5EF4-FFF2-40B4-BE49-F238E27FC236}">
                <a16:creationId xmlns:a16="http://schemas.microsoft.com/office/drawing/2014/main" id="{37686BB6-654D-F09C-DF07-546C81784531}"/>
              </a:ext>
            </a:extLst>
          </p:cNvPr>
          <p:cNvSpPr/>
          <p:nvPr/>
        </p:nvSpPr>
        <p:spPr bwMode="auto">
          <a:xfrm>
            <a:off x="4598588" y="1500290"/>
            <a:ext cx="4380071" cy="607229"/>
          </a:xfrm>
          <a:prstGeom prst="roundRect">
            <a:avLst>
              <a:gd name="adj" fmla="val 50000"/>
            </a:avLst>
          </a:prstGeom>
          <a:noFill/>
          <a:ln w="28575" cmpd="sng">
            <a:solidFill>
              <a:srgbClr val="8FAADC"/>
            </a:solidFill>
            <a:prstDash val="dash"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  <a:latin typeface="Helvetica" pitchFamily="2" charset="0"/>
              </a:rPr>
              <a:t>15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itchFamily="2" charset="0"/>
              </a:rPr>
              <a:t>%</a:t>
            </a:r>
          </a:p>
        </p:txBody>
      </p:sp>
      <p:sp>
        <p:nvSpPr>
          <p:cNvPr id="112" name="Rectangle: Rounded Corners 89">
            <a:extLst>
              <a:ext uri="{FF2B5EF4-FFF2-40B4-BE49-F238E27FC236}">
                <a16:creationId xmlns:a16="http://schemas.microsoft.com/office/drawing/2014/main" id="{81F91FC2-7260-E768-EF83-D553F579EA23}"/>
              </a:ext>
            </a:extLst>
          </p:cNvPr>
          <p:cNvSpPr/>
          <p:nvPr/>
        </p:nvSpPr>
        <p:spPr bwMode="auto">
          <a:xfrm>
            <a:off x="6315939" y="4083750"/>
            <a:ext cx="4276661" cy="610907"/>
          </a:xfrm>
          <a:prstGeom prst="roundRect">
            <a:avLst>
              <a:gd name="adj" fmla="val 50000"/>
            </a:avLst>
          </a:prstGeom>
          <a:noFill/>
          <a:ln w="28575" cmpd="sng">
            <a:solidFill>
              <a:srgbClr val="FFD966"/>
            </a:solidFill>
            <a:prstDash val="dash"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  <a:latin typeface="Helvetica" pitchFamily="2" charset="0"/>
              </a:rPr>
              <a:t>50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itchFamily="2" charset="0"/>
              </a:rPr>
              <a:t>%</a:t>
            </a:r>
          </a:p>
        </p:txBody>
      </p:sp>
      <p:sp>
        <p:nvSpPr>
          <p:cNvPr id="111" name="Rectangle: Rounded Corners 89">
            <a:extLst>
              <a:ext uri="{FF2B5EF4-FFF2-40B4-BE49-F238E27FC236}">
                <a16:creationId xmlns:a16="http://schemas.microsoft.com/office/drawing/2014/main" id="{6D14EA8D-9824-C200-E61E-B810CFEE5E61}"/>
              </a:ext>
            </a:extLst>
          </p:cNvPr>
          <p:cNvSpPr/>
          <p:nvPr/>
        </p:nvSpPr>
        <p:spPr bwMode="auto">
          <a:xfrm>
            <a:off x="6774198" y="4923465"/>
            <a:ext cx="4276661" cy="654530"/>
          </a:xfrm>
          <a:prstGeom prst="roundRect">
            <a:avLst>
              <a:gd name="adj" fmla="val 50000"/>
            </a:avLst>
          </a:prstGeom>
          <a:noFill/>
          <a:ln w="28575" cmpd="sng">
            <a:solidFill>
              <a:srgbClr val="A9D18E"/>
            </a:solidFill>
            <a:prstDash val="dash"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>
                <a:solidFill>
                  <a:srgbClr val="000000"/>
                </a:solidFill>
                <a:latin typeface="Helvetica" pitchFamily="2" charset="0"/>
              </a:rPr>
              <a:t>75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itchFamily="2" charset="0"/>
              </a:rPr>
              <a:t>%</a:t>
            </a:r>
          </a:p>
        </p:txBody>
      </p:sp>
      <p:sp>
        <p:nvSpPr>
          <p:cNvPr id="113" name="Rectangle: Rounded Corners 89">
            <a:extLst>
              <a:ext uri="{FF2B5EF4-FFF2-40B4-BE49-F238E27FC236}">
                <a16:creationId xmlns:a16="http://schemas.microsoft.com/office/drawing/2014/main" id="{D2E9E834-FCDF-937B-9713-CF6FDA2E9393}"/>
              </a:ext>
            </a:extLst>
          </p:cNvPr>
          <p:cNvSpPr/>
          <p:nvPr/>
        </p:nvSpPr>
        <p:spPr bwMode="auto">
          <a:xfrm>
            <a:off x="6012575" y="3409892"/>
            <a:ext cx="4135036" cy="535107"/>
          </a:xfrm>
          <a:prstGeom prst="roundRect">
            <a:avLst>
              <a:gd name="adj" fmla="val 50000"/>
            </a:avLst>
          </a:prstGeom>
          <a:noFill/>
          <a:ln w="28575" cmpd="sng">
            <a:solidFill>
              <a:srgbClr val="8FAADC"/>
            </a:solidFill>
            <a:prstDash val="dash"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itchFamily="2" charset="0"/>
              </a:rPr>
              <a:t>40%</a:t>
            </a:r>
          </a:p>
        </p:txBody>
      </p:sp>
      <p:sp>
        <p:nvSpPr>
          <p:cNvPr id="114" name="Rectangle: Rounded Corners 89">
            <a:extLst>
              <a:ext uri="{FF2B5EF4-FFF2-40B4-BE49-F238E27FC236}">
                <a16:creationId xmlns:a16="http://schemas.microsoft.com/office/drawing/2014/main" id="{70ED39A1-B77F-3BC6-6746-EFC351DF0F2B}"/>
              </a:ext>
            </a:extLst>
          </p:cNvPr>
          <p:cNvSpPr/>
          <p:nvPr/>
        </p:nvSpPr>
        <p:spPr bwMode="auto">
          <a:xfrm>
            <a:off x="5448967" y="2813318"/>
            <a:ext cx="4352662" cy="467379"/>
          </a:xfrm>
          <a:prstGeom prst="roundRect">
            <a:avLst>
              <a:gd name="adj" fmla="val 50000"/>
            </a:avLst>
          </a:prstGeom>
          <a:noFill/>
          <a:ln w="28575" cmpd="sng">
            <a:solidFill>
              <a:srgbClr val="A9D18E"/>
            </a:solidFill>
            <a:prstDash val="dash"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itchFamily="2" charset="0"/>
              </a:rPr>
              <a:t>35%</a:t>
            </a:r>
          </a:p>
        </p:txBody>
      </p:sp>
      <p:sp>
        <p:nvSpPr>
          <p:cNvPr id="115" name="Rectangle: Rounded Corners 89">
            <a:extLst>
              <a:ext uri="{FF2B5EF4-FFF2-40B4-BE49-F238E27FC236}">
                <a16:creationId xmlns:a16="http://schemas.microsoft.com/office/drawing/2014/main" id="{721AFFCE-A584-DA21-5785-70B2A8E0CFAB}"/>
              </a:ext>
            </a:extLst>
          </p:cNvPr>
          <p:cNvSpPr/>
          <p:nvPr/>
        </p:nvSpPr>
        <p:spPr bwMode="auto">
          <a:xfrm>
            <a:off x="5087034" y="2185219"/>
            <a:ext cx="4276661" cy="535643"/>
          </a:xfrm>
          <a:prstGeom prst="roundRect">
            <a:avLst>
              <a:gd name="adj" fmla="val 50000"/>
            </a:avLst>
          </a:prstGeom>
          <a:noFill/>
          <a:ln w="28575" cmpd="sng">
            <a:solidFill>
              <a:srgbClr val="FFD966"/>
            </a:solidFill>
            <a:prstDash val="dash"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itchFamily="2" charset="0"/>
              </a:rPr>
              <a:t>25%</a:t>
            </a:r>
          </a:p>
        </p:txBody>
      </p:sp>
      <p:cxnSp>
        <p:nvCxnSpPr>
          <p:cNvPr id="62" name="Connecteur droit 10">
            <a:extLst>
              <a:ext uri="{FF2B5EF4-FFF2-40B4-BE49-F238E27FC236}">
                <a16:creationId xmlns:a16="http://schemas.microsoft.com/office/drawing/2014/main" id="{13A53F01-934A-4F3D-BC83-68A689C53518}"/>
              </a:ext>
            </a:extLst>
          </p:cNvPr>
          <p:cNvCxnSpPr/>
          <p:nvPr/>
        </p:nvCxnSpPr>
        <p:spPr>
          <a:xfrm>
            <a:off x="0" y="707267"/>
            <a:ext cx="7090913" cy="0"/>
          </a:xfrm>
          <a:prstGeom prst="line">
            <a:avLst/>
          </a:prstGeom>
          <a:ln w="12700">
            <a:solidFill>
              <a:srgbClr val="78B9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5">
            <a:extLst>
              <a:ext uri="{FF2B5EF4-FFF2-40B4-BE49-F238E27FC236}">
                <a16:creationId xmlns:a16="http://schemas.microsoft.com/office/drawing/2014/main" id="{D5FC9FBA-3AEE-1713-9128-66CD256AE6EF}"/>
              </a:ext>
            </a:extLst>
          </p:cNvPr>
          <p:cNvSpPr/>
          <p:nvPr/>
        </p:nvSpPr>
        <p:spPr>
          <a:xfrm>
            <a:off x="-609600" y="488950"/>
            <a:ext cx="228600" cy="228600"/>
          </a:xfrm>
          <a:prstGeom prst="rect">
            <a:avLst/>
          </a:prstGeom>
          <a:solidFill>
            <a:srgbClr val="081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81F2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4D068674-DED9-8D5D-AF24-BE9DF56A9BDB}"/>
              </a:ext>
            </a:extLst>
          </p:cNvPr>
          <p:cNvSpPr/>
          <p:nvPr/>
        </p:nvSpPr>
        <p:spPr>
          <a:xfrm>
            <a:off x="-609600" y="829733"/>
            <a:ext cx="228600" cy="228600"/>
          </a:xfrm>
          <a:prstGeom prst="rect">
            <a:avLst/>
          </a:prstGeom>
          <a:solidFill>
            <a:srgbClr val="78B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8B9E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A311255D-A0F4-DDF7-D180-E4B8E64E2DBE}"/>
              </a:ext>
            </a:extLst>
          </p:cNvPr>
          <p:cNvSpPr/>
          <p:nvPr/>
        </p:nvSpPr>
        <p:spPr>
          <a:xfrm>
            <a:off x="-609600" y="1511299"/>
            <a:ext cx="228600" cy="228600"/>
          </a:xfrm>
          <a:prstGeom prst="rect">
            <a:avLst/>
          </a:prstGeom>
          <a:solidFill>
            <a:srgbClr val="007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1C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47BF7082-4D8E-CCA5-68DA-9B5D2381A51C}"/>
              </a:ext>
            </a:extLst>
          </p:cNvPr>
          <p:cNvSpPr/>
          <p:nvPr/>
        </p:nvSpPr>
        <p:spPr>
          <a:xfrm>
            <a:off x="-609600" y="1850319"/>
            <a:ext cx="228600" cy="228600"/>
          </a:xfrm>
          <a:prstGeom prst="rect">
            <a:avLst/>
          </a:prstGeom>
          <a:solidFill>
            <a:srgbClr val="EB14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 9">
            <a:extLst>
              <a:ext uri="{FF2B5EF4-FFF2-40B4-BE49-F238E27FC236}">
                <a16:creationId xmlns:a16="http://schemas.microsoft.com/office/drawing/2014/main" id="{17C976F6-B48C-47A7-628E-8CC9E80EC01F}"/>
              </a:ext>
            </a:extLst>
          </p:cNvPr>
          <p:cNvSpPr/>
          <p:nvPr/>
        </p:nvSpPr>
        <p:spPr>
          <a:xfrm>
            <a:off x="-609600" y="2189339"/>
            <a:ext cx="228600" cy="228600"/>
          </a:xfrm>
          <a:prstGeom prst="rect">
            <a:avLst/>
          </a:prstGeom>
          <a:solidFill>
            <a:srgbClr val="FFC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10">
            <a:extLst>
              <a:ext uri="{FF2B5EF4-FFF2-40B4-BE49-F238E27FC236}">
                <a16:creationId xmlns:a16="http://schemas.microsoft.com/office/drawing/2014/main" id="{96F2EC9A-2B83-8C77-933C-9580EB4F128B}"/>
              </a:ext>
            </a:extLst>
          </p:cNvPr>
          <p:cNvSpPr/>
          <p:nvPr/>
        </p:nvSpPr>
        <p:spPr>
          <a:xfrm>
            <a:off x="-609600" y="2528359"/>
            <a:ext cx="228600" cy="228600"/>
          </a:xfrm>
          <a:prstGeom prst="rect">
            <a:avLst/>
          </a:prstGeom>
          <a:solidFill>
            <a:srgbClr val="76C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Rectangle 11">
            <a:extLst>
              <a:ext uri="{FF2B5EF4-FFF2-40B4-BE49-F238E27FC236}">
                <a16:creationId xmlns:a16="http://schemas.microsoft.com/office/drawing/2014/main" id="{8762F5F4-7E2A-B038-8DD2-98CF3D572886}"/>
              </a:ext>
            </a:extLst>
          </p:cNvPr>
          <p:cNvSpPr/>
          <p:nvPr/>
        </p:nvSpPr>
        <p:spPr>
          <a:xfrm>
            <a:off x="-609600" y="2867379"/>
            <a:ext cx="228600" cy="228600"/>
          </a:xfrm>
          <a:prstGeom prst="rect">
            <a:avLst/>
          </a:prstGeom>
          <a:solidFill>
            <a:srgbClr val="F475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ectangle 12">
            <a:extLst>
              <a:ext uri="{FF2B5EF4-FFF2-40B4-BE49-F238E27FC236}">
                <a16:creationId xmlns:a16="http://schemas.microsoft.com/office/drawing/2014/main" id="{262067F9-F4BA-C674-6B89-847E94B8CDF0}"/>
              </a:ext>
            </a:extLst>
          </p:cNvPr>
          <p:cNvSpPr/>
          <p:nvPr/>
        </p:nvSpPr>
        <p:spPr>
          <a:xfrm>
            <a:off x="-609600" y="3206399"/>
            <a:ext cx="228600" cy="228600"/>
          </a:xfrm>
          <a:prstGeom prst="rect">
            <a:avLst/>
          </a:prstGeom>
          <a:solidFill>
            <a:srgbClr val="EE3B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13">
            <a:extLst>
              <a:ext uri="{FF2B5EF4-FFF2-40B4-BE49-F238E27FC236}">
                <a16:creationId xmlns:a16="http://schemas.microsoft.com/office/drawing/2014/main" id="{2B5E1C28-61BB-B223-E92F-7AC7DA4CB8BD}"/>
              </a:ext>
            </a:extLst>
          </p:cNvPr>
          <p:cNvSpPr/>
          <p:nvPr/>
        </p:nvSpPr>
        <p:spPr>
          <a:xfrm>
            <a:off x="-609600" y="3545417"/>
            <a:ext cx="228600" cy="228600"/>
          </a:xfrm>
          <a:prstGeom prst="rect">
            <a:avLst/>
          </a:prstGeom>
          <a:solidFill>
            <a:srgbClr val="3F3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A73A8716-8207-2C16-2BB9-83F2D6DC97A5}"/>
              </a:ext>
            </a:extLst>
          </p:cNvPr>
          <p:cNvGrpSpPr/>
          <p:nvPr/>
        </p:nvGrpSpPr>
        <p:grpSpPr>
          <a:xfrm>
            <a:off x="1693605" y="1472900"/>
            <a:ext cx="5968686" cy="4973006"/>
            <a:chOff x="6184542" y="2153865"/>
            <a:chExt cx="5031051" cy="4102314"/>
          </a:xfrm>
        </p:grpSpPr>
        <p:grpSp>
          <p:nvGrpSpPr>
            <p:cNvPr id="61" name="Group 8">
              <a:extLst>
                <a:ext uri="{FF2B5EF4-FFF2-40B4-BE49-F238E27FC236}">
                  <a16:creationId xmlns:a16="http://schemas.microsoft.com/office/drawing/2014/main" id="{5D6AD10B-F7A5-BD63-1454-A089BA734683}"/>
                </a:ext>
              </a:extLst>
            </p:cNvPr>
            <p:cNvGrpSpPr/>
            <p:nvPr/>
          </p:nvGrpSpPr>
          <p:grpSpPr>
            <a:xfrm>
              <a:off x="6184542" y="4470250"/>
              <a:ext cx="5031051" cy="1785929"/>
              <a:chOff x="1727200" y="2895601"/>
              <a:chExt cx="2951163" cy="1433513"/>
            </a:xfrm>
          </p:grpSpPr>
          <p:sp>
            <p:nvSpPr>
              <p:cNvPr id="72" name="Freeform 9">
                <a:extLst>
                  <a:ext uri="{FF2B5EF4-FFF2-40B4-BE49-F238E27FC236}">
                    <a16:creationId xmlns:a16="http://schemas.microsoft.com/office/drawing/2014/main" id="{9C9DF9A1-E516-CDA9-C380-EFFB61B83D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875" y="2895601"/>
                <a:ext cx="2333625" cy="858838"/>
              </a:xfrm>
              <a:custGeom>
                <a:avLst/>
                <a:gdLst/>
                <a:ahLst/>
                <a:cxnLst>
                  <a:cxn ang="0">
                    <a:pos x="782" y="0"/>
                  </a:cxn>
                  <a:cxn ang="0">
                    <a:pos x="784" y="0"/>
                  </a:cxn>
                  <a:cxn ang="0">
                    <a:pos x="787" y="3"/>
                  </a:cxn>
                  <a:cxn ang="0">
                    <a:pos x="1470" y="255"/>
                  </a:cxn>
                  <a:cxn ang="0">
                    <a:pos x="811" y="541"/>
                  </a:cxn>
                  <a:cxn ang="0">
                    <a:pos x="0" y="268"/>
                  </a:cxn>
                  <a:cxn ang="0">
                    <a:pos x="4" y="262"/>
                  </a:cxn>
                  <a:cxn ang="0">
                    <a:pos x="782" y="0"/>
                  </a:cxn>
                </a:cxnLst>
                <a:rect l="0" t="0" r="r" b="b"/>
                <a:pathLst>
                  <a:path w="1470" h="541">
                    <a:moveTo>
                      <a:pt x="782" y="0"/>
                    </a:moveTo>
                    <a:lnTo>
                      <a:pt x="784" y="0"/>
                    </a:lnTo>
                    <a:lnTo>
                      <a:pt x="787" y="3"/>
                    </a:lnTo>
                    <a:lnTo>
                      <a:pt x="1470" y="255"/>
                    </a:lnTo>
                    <a:lnTo>
                      <a:pt x="811" y="541"/>
                    </a:lnTo>
                    <a:lnTo>
                      <a:pt x="0" y="268"/>
                    </a:lnTo>
                    <a:lnTo>
                      <a:pt x="4" y="262"/>
                    </a:lnTo>
                    <a:lnTo>
                      <a:pt x="782" y="0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 10">
                <a:extLst>
                  <a:ext uri="{FF2B5EF4-FFF2-40B4-BE49-F238E27FC236}">
                    <a16:creationId xmlns:a16="http://schemas.microsoft.com/office/drawing/2014/main" id="{5F459195-2086-4EB4-ED60-6E79758E4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5338" y="3300413"/>
                <a:ext cx="1343025" cy="1028700"/>
              </a:xfrm>
              <a:custGeom>
                <a:avLst/>
                <a:gdLst/>
                <a:ahLst/>
                <a:cxnLst>
                  <a:cxn ang="0">
                    <a:pos x="662" y="0"/>
                  </a:cxn>
                  <a:cxn ang="0">
                    <a:pos x="846" y="290"/>
                  </a:cxn>
                  <a:cxn ang="0">
                    <a:pos x="17" y="648"/>
                  </a:cxn>
                  <a:cxn ang="0">
                    <a:pos x="0" y="286"/>
                  </a:cxn>
                  <a:cxn ang="0">
                    <a:pos x="659" y="0"/>
                  </a:cxn>
                  <a:cxn ang="0">
                    <a:pos x="662" y="0"/>
                  </a:cxn>
                </a:cxnLst>
                <a:rect l="0" t="0" r="r" b="b"/>
                <a:pathLst>
                  <a:path w="846" h="648">
                    <a:moveTo>
                      <a:pt x="662" y="0"/>
                    </a:moveTo>
                    <a:lnTo>
                      <a:pt x="846" y="290"/>
                    </a:lnTo>
                    <a:lnTo>
                      <a:pt x="17" y="648"/>
                    </a:lnTo>
                    <a:lnTo>
                      <a:pt x="0" y="286"/>
                    </a:lnTo>
                    <a:lnTo>
                      <a:pt x="659" y="0"/>
                    </a:lnTo>
                    <a:lnTo>
                      <a:pt x="662" y="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Freeform 11">
                <a:extLst>
                  <a:ext uri="{FF2B5EF4-FFF2-40B4-BE49-F238E27FC236}">
                    <a16:creationId xmlns:a16="http://schemas.microsoft.com/office/drawing/2014/main" id="{A58A13E4-D836-CFD5-BDE6-28C3509B7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7200" y="3321051"/>
                <a:ext cx="1635125" cy="1008063"/>
              </a:xfrm>
              <a:custGeom>
                <a:avLst/>
                <a:gdLst/>
                <a:ahLst/>
                <a:cxnLst>
                  <a:cxn ang="0">
                    <a:pos x="1030" y="635"/>
                  </a:cxn>
                  <a:cxn ang="0">
                    <a:pos x="0" y="305"/>
                  </a:cxn>
                  <a:cxn ang="0">
                    <a:pos x="202" y="0"/>
                  </a:cxn>
                  <a:cxn ang="0">
                    <a:pos x="1013" y="273"/>
                  </a:cxn>
                  <a:cxn ang="0">
                    <a:pos x="1030" y="635"/>
                  </a:cxn>
                </a:cxnLst>
                <a:rect l="0" t="0" r="r" b="b"/>
                <a:pathLst>
                  <a:path w="1030" h="635">
                    <a:moveTo>
                      <a:pt x="1030" y="635"/>
                    </a:moveTo>
                    <a:lnTo>
                      <a:pt x="0" y="305"/>
                    </a:lnTo>
                    <a:lnTo>
                      <a:pt x="202" y="0"/>
                    </a:lnTo>
                    <a:lnTo>
                      <a:pt x="1013" y="273"/>
                    </a:lnTo>
                    <a:lnTo>
                      <a:pt x="1030" y="635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8">
              <a:extLst>
                <a:ext uri="{FF2B5EF4-FFF2-40B4-BE49-F238E27FC236}">
                  <a16:creationId xmlns:a16="http://schemas.microsoft.com/office/drawing/2014/main" id="{A0F1F09A-DC8F-3516-3F2E-C258C027C5A1}"/>
                </a:ext>
              </a:extLst>
            </p:cNvPr>
            <p:cNvGrpSpPr/>
            <p:nvPr/>
          </p:nvGrpSpPr>
          <p:grpSpPr>
            <a:xfrm>
              <a:off x="6785622" y="3853438"/>
              <a:ext cx="3864281" cy="1611738"/>
              <a:chOff x="1727200" y="2895601"/>
              <a:chExt cx="2951163" cy="1433513"/>
            </a:xfrm>
          </p:grpSpPr>
          <p:sp>
            <p:nvSpPr>
              <p:cNvPr id="76" name="Freeform 9">
                <a:extLst>
                  <a:ext uri="{FF2B5EF4-FFF2-40B4-BE49-F238E27FC236}">
                    <a16:creationId xmlns:a16="http://schemas.microsoft.com/office/drawing/2014/main" id="{61754233-F95D-96EA-C451-F725BD742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875" y="2895601"/>
                <a:ext cx="2333625" cy="858838"/>
              </a:xfrm>
              <a:custGeom>
                <a:avLst/>
                <a:gdLst/>
                <a:ahLst/>
                <a:cxnLst>
                  <a:cxn ang="0">
                    <a:pos x="782" y="0"/>
                  </a:cxn>
                  <a:cxn ang="0">
                    <a:pos x="784" y="0"/>
                  </a:cxn>
                  <a:cxn ang="0">
                    <a:pos x="787" y="3"/>
                  </a:cxn>
                  <a:cxn ang="0">
                    <a:pos x="1470" y="255"/>
                  </a:cxn>
                  <a:cxn ang="0">
                    <a:pos x="811" y="541"/>
                  </a:cxn>
                  <a:cxn ang="0">
                    <a:pos x="0" y="268"/>
                  </a:cxn>
                  <a:cxn ang="0">
                    <a:pos x="4" y="262"/>
                  </a:cxn>
                  <a:cxn ang="0">
                    <a:pos x="782" y="0"/>
                  </a:cxn>
                </a:cxnLst>
                <a:rect l="0" t="0" r="r" b="b"/>
                <a:pathLst>
                  <a:path w="1470" h="541">
                    <a:moveTo>
                      <a:pt x="782" y="0"/>
                    </a:moveTo>
                    <a:lnTo>
                      <a:pt x="784" y="0"/>
                    </a:lnTo>
                    <a:lnTo>
                      <a:pt x="787" y="3"/>
                    </a:lnTo>
                    <a:lnTo>
                      <a:pt x="1470" y="255"/>
                    </a:lnTo>
                    <a:lnTo>
                      <a:pt x="811" y="541"/>
                    </a:lnTo>
                    <a:lnTo>
                      <a:pt x="0" y="268"/>
                    </a:lnTo>
                    <a:lnTo>
                      <a:pt x="4" y="262"/>
                    </a:lnTo>
                    <a:lnTo>
                      <a:pt x="782" y="0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10">
                <a:extLst>
                  <a:ext uri="{FF2B5EF4-FFF2-40B4-BE49-F238E27FC236}">
                    <a16:creationId xmlns:a16="http://schemas.microsoft.com/office/drawing/2014/main" id="{371ADA00-8F35-1C4E-20BB-A4DC9A093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5338" y="3300413"/>
                <a:ext cx="1343025" cy="1028700"/>
              </a:xfrm>
              <a:custGeom>
                <a:avLst/>
                <a:gdLst/>
                <a:ahLst/>
                <a:cxnLst>
                  <a:cxn ang="0">
                    <a:pos x="662" y="0"/>
                  </a:cxn>
                  <a:cxn ang="0">
                    <a:pos x="846" y="290"/>
                  </a:cxn>
                  <a:cxn ang="0">
                    <a:pos x="17" y="648"/>
                  </a:cxn>
                  <a:cxn ang="0">
                    <a:pos x="0" y="286"/>
                  </a:cxn>
                  <a:cxn ang="0">
                    <a:pos x="659" y="0"/>
                  </a:cxn>
                  <a:cxn ang="0">
                    <a:pos x="662" y="0"/>
                  </a:cxn>
                </a:cxnLst>
                <a:rect l="0" t="0" r="r" b="b"/>
                <a:pathLst>
                  <a:path w="846" h="648">
                    <a:moveTo>
                      <a:pt x="662" y="0"/>
                    </a:moveTo>
                    <a:lnTo>
                      <a:pt x="846" y="290"/>
                    </a:lnTo>
                    <a:lnTo>
                      <a:pt x="17" y="648"/>
                    </a:lnTo>
                    <a:lnTo>
                      <a:pt x="0" y="286"/>
                    </a:lnTo>
                    <a:lnTo>
                      <a:pt x="659" y="0"/>
                    </a:lnTo>
                    <a:lnTo>
                      <a:pt x="662" y="0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 11">
                <a:extLst>
                  <a:ext uri="{FF2B5EF4-FFF2-40B4-BE49-F238E27FC236}">
                    <a16:creationId xmlns:a16="http://schemas.microsoft.com/office/drawing/2014/main" id="{B2C37134-9EB9-EE2C-82D4-4B4935782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7200" y="3321051"/>
                <a:ext cx="1635125" cy="1008063"/>
              </a:xfrm>
              <a:custGeom>
                <a:avLst/>
                <a:gdLst/>
                <a:ahLst/>
                <a:cxnLst>
                  <a:cxn ang="0">
                    <a:pos x="1030" y="635"/>
                  </a:cxn>
                  <a:cxn ang="0">
                    <a:pos x="0" y="305"/>
                  </a:cxn>
                  <a:cxn ang="0">
                    <a:pos x="202" y="0"/>
                  </a:cxn>
                  <a:cxn ang="0">
                    <a:pos x="1013" y="273"/>
                  </a:cxn>
                  <a:cxn ang="0">
                    <a:pos x="1030" y="635"/>
                  </a:cxn>
                </a:cxnLst>
                <a:rect l="0" t="0" r="r" b="b"/>
                <a:pathLst>
                  <a:path w="1030" h="635">
                    <a:moveTo>
                      <a:pt x="1030" y="635"/>
                    </a:moveTo>
                    <a:lnTo>
                      <a:pt x="0" y="305"/>
                    </a:lnTo>
                    <a:lnTo>
                      <a:pt x="202" y="0"/>
                    </a:lnTo>
                    <a:lnTo>
                      <a:pt x="1013" y="273"/>
                    </a:lnTo>
                    <a:lnTo>
                      <a:pt x="1030" y="635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9" name="Group 8">
              <a:extLst>
                <a:ext uri="{FF2B5EF4-FFF2-40B4-BE49-F238E27FC236}">
                  <a16:creationId xmlns:a16="http://schemas.microsoft.com/office/drawing/2014/main" id="{AF0DD4B2-9821-275C-2FD6-3E13B95611F5}"/>
                </a:ext>
              </a:extLst>
            </p:cNvPr>
            <p:cNvGrpSpPr/>
            <p:nvPr/>
          </p:nvGrpSpPr>
          <p:grpSpPr>
            <a:xfrm>
              <a:off x="7233905" y="3358729"/>
              <a:ext cx="2976547" cy="1366857"/>
              <a:chOff x="1727200" y="2895601"/>
              <a:chExt cx="2951163" cy="1433513"/>
            </a:xfrm>
          </p:grpSpPr>
          <p:sp>
            <p:nvSpPr>
              <p:cNvPr id="80" name="Freeform 9">
                <a:extLst>
                  <a:ext uri="{FF2B5EF4-FFF2-40B4-BE49-F238E27FC236}">
                    <a16:creationId xmlns:a16="http://schemas.microsoft.com/office/drawing/2014/main" id="{92BAB31F-23B5-4FD8-DD0D-63A1C10A6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875" y="2895601"/>
                <a:ext cx="2333625" cy="858838"/>
              </a:xfrm>
              <a:custGeom>
                <a:avLst/>
                <a:gdLst/>
                <a:ahLst/>
                <a:cxnLst>
                  <a:cxn ang="0">
                    <a:pos x="782" y="0"/>
                  </a:cxn>
                  <a:cxn ang="0">
                    <a:pos x="784" y="0"/>
                  </a:cxn>
                  <a:cxn ang="0">
                    <a:pos x="787" y="3"/>
                  </a:cxn>
                  <a:cxn ang="0">
                    <a:pos x="1470" y="255"/>
                  </a:cxn>
                  <a:cxn ang="0">
                    <a:pos x="811" y="541"/>
                  </a:cxn>
                  <a:cxn ang="0">
                    <a:pos x="0" y="268"/>
                  </a:cxn>
                  <a:cxn ang="0">
                    <a:pos x="4" y="262"/>
                  </a:cxn>
                  <a:cxn ang="0">
                    <a:pos x="782" y="0"/>
                  </a:cxn>
                </a:cxnLst>
                <a:rect l="0" t="0" r="r" b="b"/>
                <a:pathLst>
                  <a:path w="1470" h="541">
                    <a:moveTo>
                      <a:pt x="782" y="0"/>
                    </a:moveTo>
                    <a:lnTo>
                      <a:pt x="784" y="0"/>
                    </a:lnTo>
                    <a:lnTo>
                      <a:pt x="787" y="3"/>
                    </a:lnTo>
                    <a:lnTo>
                      <a:pt x="1470" y="255"/>
                    </a:lnTo>
                    <a:lnTo>
                      <a:pt x="811" y="541"/>
                    </a:lnTo>
                    <a:lnTo>
                      <a:pt x="0" y="268"/>
                    </a:lnTo>
                    <a:lnTo>
                      <a:pt x="4" y="262"/>
                    </a:lnTo>
                    <a:lnTo>
                      <a:pt x="782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 10">
                <a:extLst>
                  <a:ext uri="{FF2B5EF4-FFF2-40B4-BE49-F238E27FC236}">
                    <a16:creationId xmlns:a16="http://schemas.microsoft.com/office/drawing/2014/main" id="{2E48B7FA-DC22-E598-7142-724A386DC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5338" y="3300413"/>
                <a:ext cx="1343025" cy="1028700"/>
              </a:xfrm>
              <a:custGeom>
                <a:avLst/>
                <a:gdLst/>
                <a:ahLst/>
                <a:cxnLst>
                  <a:cxn ang="0">
                    <a:pos x="662" y="0"/>
                  </a:cxn>
                  <a:cxn ang="0">
                    <a:pos x="846" y="290"/>
                  </a:cxn>
                  <a:cxn ang="0">
                    <a:pos x="17" y="648"/>
                  </a:cxn>
                  <a:cxn ang="0">
                    <a:pos x="0" y="286"/>
                  </a:cxn>
                  <a:cxn ang="0">
                    <a:pos x="659" y="0"/>
                  </a:cxn>
                  <a:cxn ang="0">
                    <a:pos x="662" y="0"/>
                  </a:cxn>
                </a:cxnLst>
                <a:rect l="0" t="0" r="r" b="b"/>
                <a:pathLst>
                  <a:path w="846" h="648">
                    <a:moveTo>
                      <a:pt x="662" y="0"/>
                    </a:moveTo>
                    <a:lnTo>
                      <a:pt x="846" y="290"/>
                    </a:lnTo>
                    <a:lnTo>
                      <a:pt x="17" y="648"/>
                    </a:lnTo>
                    <a:lnTo>
                      <a:pt x="0" y="286"/>
                    </a:lnTo>
                    <a:lnTo>
                      <a:pt x="659" y="0"/>
                    </a:lnTo>
                    <a:lnTo>
                      <a:pt x="662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AEDAB28D-4F17-1C6A-6513-60E075E5D7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7200" y="3321051"/>
                <a:ext cx="1635125" cy="1008063"/>
              </a:xfrm>
              <a:custGeom>
                <a:avLst/>
                <a:gdLst/>
                <a:ahLst/>
                <a:cxnLst>
                  <a:cxn ang="0">
                    <a:pos x="1030" y="635"/>
                  </a:cxn>
                  <a:cxn ang="0">
                    <a:pos x="0" y="305"/>
                  </a:cxn>
                  <a:cxn ang="0">
                    <a:pos x="202" y="0"/>
                  </a:cxn>
                  <a:cxn ang="0">
                    <a:pos x="1013" y="273"/>
                  </a:cxn>
                  <a:cxn ang="0">
                    <a:pos x="1030" y="635"/>
                  </a:cxn>
                </a:cxnLst>
                <a:rect l="0" t="0" r="r" b="b"/>
                <a:pathLst>
                  <a:path w="1030" h="635">
                    <a:moveTo>
                      <a:pt x="1030" y="635"/>
                    </a:moveTo>
                    <a:lnTo>
                      <a:pt x="0" y="305"/>
                    </a:lnTo>
                    <a:lnTo>
                      <a:pt x="202" y="0"/>
                    </a:lnTo>
                    <a:lnTo>
                      <a:pt x="1013" y="273"/>
                    </a:lnTo>
                    <a:lnTo>
                      <a:pt x="1030" y="635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3" name="Group 12">
              <a:extLst>
                <a:ext uri="{FF2B5EF4-FFF2-40B4-BE49-F238E27FC236}">
                  <a16:creationId xmlns:a16="http://schemas.microsoft.com/office/drawing/2014/main" id="{5706F0B4-8709-7C2A-07D6-47A7DEC4A99C}"/>
                </a:ext>
              </a:extLst>
            </p:cNvPr>
            <p:cNvGrpSpPr/>
            <p:nvPr/>
          </p:nvGrpSpPr>
          <p:grpSpPr>
            <a:xfrm>
              <a:off x="7584469" y="2960974"/>
              <a:ext cx="2285762" cy="1088266"/>
              <a:chOff x="2112963" y="2387601"/>
              <a:chExt cx="2203450" cy="1227138"/>
            </a:xfrm>
          </p:grpSpPr>
          <p:sp>
            <p:nvSpPr>
              <p:cNvPr id="84" name="Freeform 12">
                <a:extLst>
                  <a:ext uri="{FF2B5EF4-FFF2-40B4-BE49-F238E27FC236}">
                    <a16:creationId xmlns:a16="http://schemas.microsoft.com/office/drawing/2014/main" id="{EAAD1D56-B128-DAFD-0E54-ECDCC500B6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2387601"/>
                <a:ext cx="1597025" cy="658813"/>
              </a:xfrm>
              <a:custGeom>
                <a:avLst/>
                <a:gdLst/>
                <a:ahLst/>
                <a:cxnLst>
                  <a:cxn ang="0">
                    <a:pos x="535" y="0"/>
                  </a:cxn>
                  <a:cxn ang="0">
                    <a:pos x="1006" y="215"/>
                  </a:cxn>
                  <a:cxn ang="0">
                    <a:pos x="557" y="415"/>
                  </a:cxn>
                  <a:cxn ang="0">
                    <a:pos x="0" y="224"/>
                  </a:cxn>
                  <a:cxn ang="0">
                    <a:pos x="535" y="0"/>
                  </a:cxn>
                  <a:cxn ang="0">
                    <a:pos x="552" y="320"/>
                  </a:cxn>
                  <a:cxn ang="0">
                    <a:pos x="550" y="320"/>
                  </a:cxn>
                  <a:cxn ang="0">
                    <a:pos x="552" y="320"/>
                  </a:cxn>
                  <a:cxn ang="0">
                    <a:pos x="555" y="323"/>
                  </a:cxn>
                  <a:cxn ang="0">
                    <a:pos x="552" y="320"/>
                  </a:cxn>
                </a:cxnLst>
                <a:rect l="0" t="0" r="r" b="b"/>
                <a:pathLst>
                  <a:path w="1006" h="415">
                    <a:moveTo>
                      <a:pt x="535" y="0"/>
                    </a:moveTo>
                    <a:lnTo>
                      <a:pt x="1006" y="215"/>
                    </a:lnTo>
                    <a:lnTo>
                      <a:pt x="557" y="415"/>
                    </a:lnTo>
                    <a:lnTo>
                      <a:pt x="0" y="224"/>
                    </a:lnTo>
                    <a:lnTo>
                      <a:pt x="535" y="0"/>
                    </a:lnTo>
                    <a:close/>
                    <a:moveTo>
                      <a:pt x="552" y="320"/>
                    </a:moveTo>
                    <a:lnTo>
                      <a:pt x="550" y="320"/>
                    </a:lnTo>
                    <a:lnTo>
                      <a:pt x="552" y="320"/>
                    </a:lnTo>
                    <a:lnTo>
                      <a:pt x="555" y="323"/>
                    </a:lnTo>
                    <a:lnTo>
                      <a:pt x="552" y="320"/>
                    </a:ln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Freeform 13">
                <a:extLst>
                  <a:ext uri="{FF2B5EF4-FFF2-40B4-BE49-F238E27FC236}">
                    <a16:creationId xmlns:a16="http://schemas.microsoft.com/office/drawing/2014/main" id="{DCB62952-99BD-4D87-A845-8EA4822375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413" y="2728913"/>
                <a:ext cx="1016000" cy="885825"/>
              </a:xfrm>
              <a:custGeom>
                <a:avLst/>
                <a:gdLst/>
                <a:ahLst/>
                <a:cxnLst>
                  <a:cxn ang="0">
                    <a:pos x="449" y="0"/>
                  </a:cxn>
                  <a:cxn ang="0">
                    <a:pos x="454" y="2"/>
                  </a:cxn>
                  <a:cxn ang="0">
                    <a:pos x="640" y="292"/>
                  </a:cxn>
                  <a:cxn ang="0">
                    <a:pos x="17" y="558"/>
                  </a:cxn>
                  <a:cxn ang="0">
                    <a:pos x="0" y="200"/>
                  </a:cxn>
                  <a:cxn ang="0">
                    <a:pos x="449" y="0"/>
                  </a:cxn>
                </a:cxnLst>
                <a:rect l="0" t="0" r="r" b="b"/>
                <a:pathLst>
                  <a:path w="640" h="558">
                    <a:moveTo>
                      <a:pt x="449" y="0"/>
                    </a:moveTo>
                    <a:lnTo>
                      <a:pt x="454" y="2"/>
                    </a:lnTo>
                    <a:lnTo>
                      <a:pt x="640" y="292"/>
                    </a:lnTo>
                    <a:lnTo>
                      <a:pt x="17" y="558"/>
                    </a:lnTo>
                    <a:lnTo>
                      <a:pt x="0" y="200"/>
                    </a:lnTo>
                    <a:lnTo>
                      <a:pt x="449" y="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Freeform 14">
                <a:extLst>
                  <a:ext uri="{FF2B5EF4-FFF2-40B4-BE49-F238E27FC236}">
                    <a16:creationId xmlns:a16="http://schemas.microsoft.com/office/drawing/2014/main" id="{216FDB95-4FEF-A4F7-9DD8-B2136A3CF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2963" y="2743201"/>
                <a:ext cx="1214438" cy="871538"/>
              </a:xfrm>
              <a:custGeom>
                <a:avLst/>
                <a:gdLst/>
                <a:ahLst/>
                <a:cxnLst>
                  <a:cxn ang="0">
                    <a:pos x="0" y="296"/>
                  </a:cxn>
                  <a:cxn ang="0">
                    <a:pos x="191" y="0"/>
                  </a:cxn>
                  <a:cxn ang="0">
                    <a:pos x="748" y="191"/>
                  </a:cxn>
                  <a:cxn ang="0">
                    <a:pos x="765" y="549"/>
                  </a:cxn>
                  <a:cxn ang="0">
                    <a:pos x="0" y="296"/>
                  </a:cxn>
                </a:cxnLst>
                <a:rect l="0" t="0" r="r" b="b"/>
                <a:pathLst>
                  <a:path w="765" h="549">
                    <a:moveTo>
                      <a:pt x="0" y="296"/>
                    </a:moveTo>
                    <a:lnTo>
                      <a:pt x="191" y="0"/>
                    </a:lnTo>
                    <a:lnTo>
                      <a:pt x="748" y="191"/>
                    </a:lnTo>
                    <a:lnTo>
                      <a:pt x="765" y="549"/>
                    </a:lnTo>
                    <a:lnTo>
                      <a:pt x="0" y="296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7" name="Group 16">
              <a:extLst>
                <a:ext uri="{FF2B5EF4-FFF2-40B4-BE49-F238E27FC236}">
                  <a16:creationId xmlns:a16="http://schemas.microsoft.com/office/drawing/2014/main" id="{E99B55EE-7F51-40C7-D179-8F0A038E52E6}"/>
                </a:ext>
              </a:extLst>
            </p:cNvPr>
            <p:cNvGrpSpPr/>
            <p:nvPr/>
          </p:nvGrpSpPr>
          <p:grpSpPr>
            <a:xfrm>
              <a:off x="7975635" y="2561098"/>
              <a:ext cx="1483644" cy="898691"/>
              <a:chOff x="2486025" y="1947863"/>
              <a:chExt cx="1457326" cy="947738"/>
            </a:xfrm>
          </p:grpSpPr>
          <p:sp>
            <p:nvSpPr>
              <p:cNvPr id="88" name="Freeform 15">
                <a:extLst>
                  <a:ext uri="{FF2B5EF4-FFF2-40B4-BE49-F238E27FC236}">
                    <a16:creationId xmlns:a16="http://schemas.microsoft.com/office/drawing/2014/main" id="{5283F1C6-BC6C-8FDB-3782-AD06FD123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9238" y="1947863"/>
                <a:ext cx="858838" cy="366713"/>
              </a:xfrm>
              <a:custGeom>
                <a:avLst/>
                <a:gdLst/>
                <a:ahLst/>
                <a:cxnLst>
                  <a:cxn ang="0">
                    <a:pos x="287" y="0"/>
                  </a:cxn>
                  <a:cxn ang="0">
                    <a:pos x="541" y="125"/>
                  </a:cxn>
                  <a:cxn ang="0">
                    <a:pos x="298" y="231"/>
                  </a:cxn>
                  <a:cxn ang="0">
                    <a:pos x="0" y="134"/>
                  </a:cxn>
                  <a:cxn ang="0">
                    <a:pos x="287" y="0"/>
                  </a:cxn>
                </a:cxnLst>
                <a:rect l="0" t="0" r="r" b="b"/>
                <a:pathLst>
                  <a:path w="541" h="231">
                    <a:moveTo>
                      <a:pt x="287" y="0"/>
                    </a:moveTo>
                    <a:lnTo>
                      <a:pt x="541" y="125"/>
                    </a:lnTo>
                    <a:lnTo>
                      <a:pt x="298" y="231"/>
                    </a:lnTo>
                    <a:lnTo>
                      <a:pt x="0" y="134"/>
                    </a:lnTo>
                    <a:lnTo>
                      <a:pt x="287" y="0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 16">
                <a:extLst>
                  <a:ext uri="{FF2B5EF4-FFF2-40B4-BE49-F238E27FC236}">
                    <a16:creationId xmlns:a16="http://schemas.microsoft.com/office/drawing/2014/main" id="{CD1F11A6-8B76-307D-6F61-CB103BBA8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313" y="2146301"/>
                <a:ext cx="681038" cy="749300"/>
              </a:xfrm>
              <a:custGeom>
                <a:avLst/>
                <a:gdLst/>
                <a:ahLst/>
                <a:cxnLst>
                  <a:cxn ang="0">
                    <a:pos x="19" y="472"/>
                  </a:cxn>
                  <a:cxn ang="0">
                    <a:pos x="0" y="106"/>
                  </a:cxn>
                  <a:cxn ang="0">
                    <a:pos x="243" y="0"/>
                  </a:cxn>
                  <a:cxn ang="0">
                    <a:pos x="429" y="295"/>
                  </a:cxn>
                  <a:cxn ang="0">
                    <a:pos x="19" y="472"/>
                  </a:cxn>
                </a:cxnLst>
                <a:rect l="0" t="0" r="r" b="b"/>
                <a:pathLst>
                  <a:path w="429" h="472">
                    <a:moveTo>
                      <a:pt x="19" y="472"/>
                    </a:moveTo>
                    <a:lnTo>
                      <a:pt x="0" y="106"/>
                    </a:lnTo>
                    <a:lnTo>
                      <a:pt x="243" y="0"/>
                    </a:lnTo>
                    <a:lnTo>
                      <a:pt x="429" y="295"/>
                    </a:lnTo>
                    <a:lnTo>
                      <a:pt x="19" y="472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 17">
                <a:extLst>
                  <a:ext uri="{FF2B5EF4-FFF2-40B4-BE49-F238E27FC236}">
                    <a16:creationId xmlns:a16="http://schemas.microsoft.com/office/drawing/2014/main" id="{24DEB122-3083-46BF-9453-D95062F481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6025" y="2160588"/>
                <a:ext cx="806450" cy="735013"/>
              </a:xfrm>
              <a:custGeom>
                <a:avLst/>
                <a:gdLst/>
                <a:ahLst/>
                <a:cxnLst>
                  <a:cxn ang="0">
                    <a:pos x="191" y="0"/>
                  </a:cxn>
                  <a:cxn ang="0">
                    <a:pos x="489" y="97"/>
                  </a:cxn>
                  <a:cxn ang="0">
                    <a:pos x="508" y="463"/>
                  </a:cxn>
                  <a:cxn ang="0">
                    <a:pos x="506" y="463"/>
                  </a:cxn>
                  <a:cxn ang="0">
                    <a:pos x="0" y="297"/>
                  </a:cxn>
                  <a:cxn ang="0">
                    <a:pos x="191" y="0"/>
                  </a:cxn>
                  <a:cxn ang="0">
                    <a:pos x="191" y="0"/>
                  </a:cxn>
                </a:cxnLst>
                <a:rect l="0" t="0" r="r" b="b"/>
                <a:pathLst>
                  <a:path w="508" h="463">
                    <a:moveTo>
                      <a:pt x="191" y="0"/>
                    </a:moveTo>
                    <a:lnTo>
                      <a:pt x="489" y="97"/>
                    </a:lnTo>
                    <a:lnTo>
                      <a:pt x="508" y="463"/>
                    </a:lnTo>
                    <a:lnTo>
                      <a:pt x="506" y="463"/>
                    </a:lnTo>
                    <a:lnTo>
                      <a:pt x="0" y="297"/>
                    </a:lnTo>
                    <a:lnTo>
                      <a:pt x="191" y="0"/>
                    </a:lnTo>
                    <a:lnTo>
                      <a:pt x="191" y="0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91" name="Group 20">
              <a:extLst>
                <a:ext uri="{FF2B5EF4-FFF2-40B4-BE49-F238E27FC236}">
                  <a16:creationId xmlns:a16="http://schemas.microsoft.com/office/drawing/2014/main" id="{A58EE492-34BE-59C0-8E56-188AB4215336}"/>
                </a:ext>
              </a:extLst>
            </p:cNvPr>
            <p:cNvGrpSpPr/>
            <p:nvPr/>
          </p:nvGrpSpPr>
          <p:grpSpPr>
            <a:xfrm>
              <a:off x="8360576" y="2153865"/>
              <a:ext cx="712787" cy="687388"/>
              <a:chOff x="2862263" y="1481138"/>
              <a:chExt cx="712787" cy="687388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2" name="Freeform 18">
                <a:extLst>
                  <a:ext uri="{FF2B5EF4-FFF2-40B4-BE49-F238E27FC236}">
                    <a16:creationId xmlns:a16="http://schemas.microsoft.com/office/drawing/2014/main" id="{C5E95961-F5A9-A392-3946-7D4001FA7D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9450" y="1481138"/>
                <a:ext cx="355600" cy="687388"/>
              </a:xfrm>
              <a:custGeom>
                <a:avLst/>
                <a:gdLst/>
                <a:ahLst/>
                <a:cxnLst>
                  <a:cxn ang="0">
                    <a:pos x="224" y="347"/>
                  </a:cxn>
                  <a:cxn ang="0">
                    <a:pos x="22" y="433"/>
                  </a:cxn>
                  <a:cxn ang="0">
                    <a:pos x="0" y="0"/>
                  </a:cxn>
                  <a:cxn ang="0">
                    <a:pos x="224" y="347"/>
                  </a:cxn>
                </a:cxnLst>
                <a:rect l="0" t="0" r="r" b="b"/>
                <a:pathLst>
                  <a:path w="224" h="433">
                    <a:moveTo>
                      <a:pt x="224" y="347"/>
                    </a:moveTo>
                    <a:lnTo>
                      <a:pt x="22" y="433"/>
                    </a:lnTo>
                    <a:lnTo>
                      <a:pt x="0" y="0"/>
                    </a:lnTo>
                    <a:lnTo>
                      <a:pt x="224" y="34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 19">
                <a:extLst>
                  <a:ext uri="{FF2B5EF4-FFF2-40B4-BE49-F238E27FC236}">
                    <a16:creationId xmlns:a16="http://schemas.microsoft.com/office/drawing/2014/main" id="{46802438-0D13-D127-402F-4F5804FD9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2263" y="1481138"/>
                <a:ext cx="392113" cy="687388"/>
              </a:xfrm>
              <a:custGeom>
                <a:avLst/>
                <a:gdLst/>
                <a:ahLst/>
                <a:cxnLst>
                  <a:cxn ang="0">
                    <a:pos x="247" y="433"/>
                  </a:cxn>
                  <a:cxn ang="0">
                    <a:pos x="0" y="354"/>
                  </a:cxn>
                  <a:cxn ang="0">
                    <a:pos x="225" y="0"/>
                  </a:cxn>
                  <a:cxn ang="0">
                    <a:pos x="247" y="433"/>
                  </a:cxn>
                </a:cxnLst>
                <a:rect l="0" t="0" r="r" b="b"/>
                <a:pathLst>
                  <a:path w="247" h="433">
                    <a:moveTo>
                      <a:pt x="247" y="433"/>
                    </a:moveTo>
                    <a:lnTo>
                      <a:pt x="0" y="354"/>
                    </a:lnTo>
                    <a:lnTo>
                      <a:pt x="225" y="0"/>
                    </a:lnTo>
                    <a:lnTo>
                      <a:pt x="247" y="43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94" name="Rechteck 21">
              <a:extLst>
                <a:ext uri="{FF2B5EF4-FFF2-40B4-BE49-F238E27FC236}">
                  <a16:creationId xmlns:a16="http://schemas.microsoft.com/office/drawing/2014/main" id="{99D13895-43F7-6735-0225-C63ABCBAD089}"/>
                </a:ext>
              </a:extLst>
            </p:cNvPr>
            <p:cNvSpPr/>
            <p:nvPr/>
          </p:nvSpPr>
          <p:spPr>
            <a:xfrm rot="21441402">
              <a:off x="8487129" y="5526249"/>
              <a:ext cx="466471" cy="5078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358" tIns="122717" rIns="61358" bIns="30679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70"/>
                </a:spcAft>
                <a:buClr>
                  <a:srgbClr val="003479"/>
                </a:buClr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rPr>
                <a:t>R</a:t>
              </a:r>
            </a:p>
          </p:txBody>
        </p:sp>
        <p:sp>
          <p:nvSpPr>
            <p:cNvPr id="95" name="Rechteck 21">
              <a:extLst>
                <a:ext uri="{FF2B5EF4-FFF2-40B4-BE49-F238E27FC236}">
                  <a16:creationId xmlns:a16="http://schemas.microsoft.com/office/drawing/2014/main" id="{1C4B40DD-A5F2-FEBF-B452-84E02B1F729D}"/>
                </a:ext>
              </a:extLst>
            </p:cNvPr>
            <p:cNvSpPr/>
            <p:nvPr/>
          </p:nvSpPr>
          <p:spPr>
            <a:xfrm>
              <a:off x="8479479" y="4796935"/>
              <a:ext cx="466471" cy="5078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358" tIns="122717" rIns="61358" bIns="30679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70"/>
                </a:spcAft>
                <a:buClr>
                  <a:srgbClr val="003479"/>
                </a:buClr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96" name="Rechteck 21">
              <a:extLst>
                <a:ext uri="{FF2B5EF4-FFF2-40B4-BE49-F238E27FC236}">
                  <a16:creationId xmlns:a16="http://schemas.microsoft.com/office/drawing/2014/main" id="{44F505A5-FF70-7332-BF41-5461A5534EFD}"/>
                </a:ext>
              </a:extLst>
            </p:cNvPr>
            <p:cNvSpPr/>
            <p:nvPr/>
          </p:nvSpPr>
          <p:spPr>
            <a:xfrm rot="21225746">
              <a:off x="8453272" y="4116966"/>
              <a:ext cx="466471" cy="5078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358" tIns="122717" rIns="61358" bIns="30679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70"/>
                </a:spcAft>
                <a:buClr>
                  <a:srgbClr val="003479"/>
                </a:buClr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rPr>
                <a:t>Q</a:t>
              </a:r>
            </a:p>
          </p:txBody>
        </p:sp>
        <p:sp>
          <p:nvSpPr>
            <p:cNvPr id="97" name="Rechteck 21">
              <a:extLst>
                <a:ext uri="{FF2B5EF4-FFF2-40B4-BE49-F238E27FC236}">
                  <a16:creationId xmlns:a16="http://schemas.microsoft.com/office/drawing/2014/main" id="{00793A28-A6D7-CC19-172A-8929048D4E0A}"/>
                </a:ext>
              </a:extLst>
            </p:cNvPr>
            <p:cNvSpPr/>
            <p:nvPr/>
          </p:nvSpPr>
          <p:spPr>
            <a:xfrm rot="21441402">
              <a:off x="8468017" y="3492134"/>
              <a:ext cx="466471" cy="5078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358" tIns="122717" rIns="61358" bIns="30679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70"/>
                </a:spcAft>
                <a:buClr>
                  <a:srgbClr val="003479"/>
                </a:buClr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rPr>
                <a:t>S</a:t>
              </a:r>
            </a:p>
          </p:txBody>
        </p:sp>
        <p:sp>
          <p:nvSpPr>
            <p:cNvPr id="98" name="Rechteck 21">
              <a:extLst>
                <a:ext uri="{FF2B5EF4-FFF2-40B4-BE49-F238E27FC236}">
                  <a16:creationId xmlns:a16="http://schemas.microsoft.com/office/drawing/2014/main" id="{1DBE1BBE-6D22-A5FC-931E-7053B6116AF0}"/>
                </a:ext>
              </a:extLst>
            </p:cNvPr>
            <p:cNvSpPr/>
            <p:nvPr/>
          </p:nvSpPr>
          <p:spPr>
            <a:xfrm rot="21441402">
              <a:off x="8424472" y="2902907"/>
              <a:ext cx="466471" cy="5078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358" tIns="122717" rIns="61358" bIns="30679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70"/>
                </a:spcAft>
                <a:buClr>
                  <a:srgbClr val="003479"/>
                </a:buClr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99" name="Rechteck 21">
              <a:extLst>
                <a:ext uri="{FF2B5EF4-FFF2-40B4-BE49-F238E27FC236}">
                  <a16:creationId xmlns:a16="http://schemas.microsoft.com/office/drawing/2014/main" id="{73A34AFD-80D0-20E4-E252-A56406DC74B1}"/>
                </a:ext>
              </a:extLst>
            </p:cNvPr>
            <p:cNvSpPr/>
            <p:nvPr/>
          </p:nvSpPr>
          <p:spPr>
            <a:xfrm rot="21441402">
              <a:off x="8468017" y="2328444"/>
              <a:ext cx="466471" cy="5078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1358" tIns="122717" rIns="61358" bIns="30679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70"/>
                </a:spcAft>
                <a:buClr>
                  <a:srgbClr val="003479"/>
                </a:buClr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rPr>
                <a:t>I</a:t>
              </a:r>
            </a:p>
          </p:txBody>
        </p:sp>
        <p:sp>
          <p:nvSpPr>
            <p:cNvPr id="100" name="TextBox 26">
              <a:extLst>
                <a:ext uri="{FF2B5EF4-FFF2-40B4-BE49-F238E27FC236}">
                  <a16:creationId xmlns:a16="http://schemas.microsoft.com/office/drawing/2014/main" id="{E4C5A0B8-6247-8706-C97C-24ABD1E51EAF}"/>
                </a:ext>
              </a:extLst>
            </p:cNvPr>
            <p:cNvSpPr txBox="1"/>
            <p:nvPr/>
          </p:nvSpPr>
          <p:spPr>
            <a:xfrm rot="20556942">
              <a:off x="9249768" y="5406602"/>
              <a:ext cx="14421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rPr>
                <a:t>Regulatory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+mn-cs"/>
              </a:endParaRPr>
            </a:p>
          </p:txBody>
        </p:sp>
        <p:sp>
          <p:nvSpPr>
            <p:cNvPr id="101" name="TextBox 26">
              <a:extLst>
                <a:ext uri="{FF2B5EF4-FFF2-40B4-BE49-F238E27FC236}">
                  <a16:creationId xmlns:a16="http://schemas.microsoft.com/office/drawing/2014/main" id="{DFC26DED-9356-90D6-6A11-CD65D3268F6E}"/>
                </a:ext>
              </a:extLst>
            </p:cNvPr>
            <p:cNvSpPr txBox="1"/>
            <p:nvPr/>
          </p:nvSpPr>
          <p:spPr>
            <a:xfrm rot="20463135">
              <a:off x="8966968" y="4567979"/>
              <a:ext cx="144210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Arial" pitchFamily="34" charset="0"/>
                </a:rPr>
                <a:t>Employee Satisfaction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102" name="TextBox 26">
              <a:extLst>
                <a:ext uri="{FF2B5EF4-FFF2-40B4-BE49-F238E27FC236}">
                  <a16:creationId xmlns:a16="http://schemas.microsoft.com/office/drawing/2014/main" id="{92CC8CB1-8CC9-2A44-859E-9BED94ABAB2B}"/>
                </a:ext>
              </a:extLst>
            </p:cNvPr>
            <p:cNvSpPr txBox="1"/>
            <p:nvPr/>
          </p:nvSpPr>
          <p:spPr>
            <a:xfrm rot="20220892">
              <a:off x="8680769" y="4114826"/>
              <a:ext cx="1442103" cy="2792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prstClr val="white"/>
                  </a:solidFill>
                  <a:latin typeface="等线" panose="020F0502020204030204"/>
                  <a:cs typeface="Arial" pitchFamily="34" charset="0"/>
                </a:rPr>
                <a:t>Saving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103" name="TextBox 26">
              <a:extLst>
                <a:ext uri="{FF2B5EF4-FFF2-40B4-BE49-F238E27FC236}">
                  <a16:creationId xmlns:a16="http://schemas.microsoft.com/office/drawing/2014/main" id="{0C5E661E-A002-697A-D93A-11EE8427E47A}"/>
                </a:ext>
              </a:extLst>
            </p:cNvPr>
            <p:cNvSpPr txBox="1"/>
            <p:nvPr/>
          </p:nvSpPr>
          <p:spPr>
            <a:xfrm rot="20220892">
              <a:off x="8536705" y="3525901"/>
              <a:ext cx="1442103" cy="2792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600" b="1" dirty="0">
                  <a:solidFill>
                    <a:prstClr val="white"/>
                  </a:solidFill>
                  <a:latin typeface="等线" panose="020F0502020204030204"/>
                  <a:cs typeface="Arial" pitchFamily="34" charset="0"/>
                </a:rPr>
                <a:t>Productivity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104" name="TextBox 26">
              <a:extLst>
                <a:ext uri="{FF2B5EF4-FFF2-40B4-BE49-F238E27FC236}">
                  <a16:creationId xmlns:a16="http://schemas.microsoft.com/office/drawing/2014/main" id="{088B95CA-4F11-F5EC-A3ED-76E3C0B31FD7}"/>
                </a:ext>
              </a:extLst>
            </p:cNvPr>
            <p:cNvSpPr txBox="1"/>
            <p:nvPr/>
          </p:nvSpPr>
          <p:spPr>
            <a:xfrm rot="20220892">
              <a:off x="8350216" y="2915463"/>
              <a:ext cx="14421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+mn-ea"/>
                  <a:cs typeface="Arial" pitchFamily="34" charset="0"/>
                </a:rPr>
                <a:t>Cost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105" name="TextBox 24">
              <a:extLst>
                <a:ext uri="{FF2B5EF4-FFF2-40B4-BE49-F238E27FC236}">
                  <a16:creationId xmlns:a16="http://schemas.microsoft.com/office/drawing/2014/main" id="{746222B4-BDFF-36BD-DE74-16D6C3CA47F6}"/>
                </a:ext>
              </a:extLst>
            </p:cNvPr>
            <p:cNvSpPr txBox="1"/>
            <p:nvPr/>
          </p:nvSpPr>
          <p:spPr>
            <a:xfrm>
              <a:off x="8908820" y="2284671"/>
              <a:ext cx="21230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+mn-cs"/>
                </a:rPr>
                <a:t>Innovation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60000"/>
                    <a:lumOff val="40000"/>
                  </a:srgbClr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87353677-55CA-3B1A-AC1F-47741D2070BB}"/>
              </a:ext>
            </a:extLst>
          </p:cNvPr>
          <p:cNvSpPr txBox="1">
            <a:spLocks/>
          </p:cNvSpPr>
          <p:nvPr/>
        </p:nvSpPr>
        <p:spPr>
          <a:xfrm>
            <a:off x="618090" y="0"/>
            <a:ext cx="9291223" cy="83203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igital Value Realized</a:t>
            </a:r>
          </a:p>
        </p:txBody>
      </p:sp>
      <p:sp>
        <p:nvSpPr>
          <p:cNvPr id="117" name="Content Placeholder 2">
            <a:extLst>
              <a:ext uri="{FF2B5EF4-FFF2-40B4-BE49-F238E27FC236}">
                <a16:creationId xmlns:a16="http://schemas.microsoft.com/office/drawing/2014/main" id="{C72E1476-D81D-DF15-6A5F-2F70396194E6}"/>
              </a:ext>
            </a:extLst>
          </p:cNvPr>
          <p:cNvSpPr txBox="1">
            <a:spLocks/>
          </p:cNvSpPr>
          <p:nvPr/>
        </p:nvSpPr>
        <p:spPr>
          <a:xfrm>
            <a:off x="518549" y="877560"/>
            <a:ext cx="9860837" cy="85935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rgbClr val="404041"/>
                </a:solidFill>
                <a:latin typeface="Bogle" panose="020B05030202030602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404041"/>
                </a:solidFill>
                <a:latin typeface="Bogle" panose="020B05030202030602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404041"/>
                </a:solidFill>
                <a:latin typeface="Bogle" panose="020B05030202030602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404041"/>
                </a:solidFill>
                <a:latin typeface="Bogle" panose="020B05030202030602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404041"/>
                </a:solidFill>
                <a:latin typeface="Bogle" panose="020B050302020306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Bogle" panose="020B050302020306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8064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" grpId="0" animBg="1"/>
      <p:bldP spid="112" grpId="0" animBg="1"/>
      <p:bldP spid="111" grpId="0" animBg="1"/>
      <p:bldP spid="113" grpId="0" animBg="1"/>
      <p:bldP spid="114" grpId="0" animBg="1"/>
      <p:bldP spid="1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/>
              <a:ea typeface="+mn-ea"/>
              <a:cs typeface="+mn-cs"/>
              <a:sym typeface="Bogle"/>
            </a:endParaRP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50885B8E-558B-F1FD-F4E5-A8679BEE60E6}"/>
              </a:ext>
            </a:extLst>
          </p:cNvPr>
          <p:cNvGrpSpPr/>
          <p:nvPr/>
        </p:nvGrpSpPr>
        <p:grpSpPr>
          <a:xfrm>
            <a:off x="2224753" y="1069237"/>
            <a:ext cx="7507166" cy="3762208"/>
            <a:chOff x="2224753" y="1069237"/>
            <a:chExt cx="7507166" cy="3762208"/>
          </a:xfrm>
        </p:grpSpPr>
        <p:sp>
          <p:nvSpPr>
            <p:cNvPr id="9" name="object 5"/>
            <p:cNvSpPr/>
            <p:nvPr/>
          </p:nvSpPr>
          <p:spPr>
            <a:xfrm>
              <a:off x="2224753" y="1069237"/>
              <a:ext cx="7507166" cy="3753583"/>
            </a:xfrm>
            <a:custGeom>
              <a:avLst/>
              <a:gdLst/>
              <a:ahLst/>
              <a:cxnLst/>
              <a:rect l="l" t="t" r="r" b="b"/>
              <a:pathLst>
                <a:path w="6512559" h="3256279">
                  <a:moveTo>
                    <a:pt x="3256241" y="0"/>
                  </a:moveTo>
                  <a:lnTo>
                    <a:pt x="2989179" y="10794"/>
                  </a:lnTo>
                  <a:lnTo>
                    <a:pt x="2728063" y="42618"/>
                  </a:lnTo>
                  <a:lnTo>
                    <a:pt x="2473729" y="94635"/>
                  </a:lnTo>
                  <a:lnTo>
                    <a:pt x="2227018" y="166005"/>
                  </a:lnTo>
                  <a:lnTo>
                    <a:pt x="1988766" y="255891"/>
                  </a:lnTo>
                  <a:lnTo>
                    <a:pt x="1759812" y="363456"/>
                  </a:lnTo>
                  <a:lnTo>
                    <a:pt x="1540993" y="487860"/>
                  </a:lnTo>
                  <a:lnTo>
                    <a:pt x="1333148" y="628266"/>
                  </a:lnTo>
                  <a:lnTo>
                    <a:pt x="1137115" y="783836"/>
                  </a:lnTo>
                  <a:lnTo>
                    <a:pt x="953731" y="953731"/>
                  </a:lnTo>
                  <a:lnTo>
                    <a:pt x="783836" y="1137115"/>
                  </a:lnTo>
                  <a:lnTo>
                    <a:pt x="628266" y="1333148"/>
                  </a:lnTo>
                  <a:lnTo>
                    <a:pt x="487860" y="1540993"/>
                  </a:lnTo>
                  <a:lnTo>
                    <a:pt x="363456" y="1759812"/>
                  </a:lnTo>
                  <a:lnTo>
                    <a:pt x="255891" y="1988766"/>
                  </a:lnTo>
                  <a:lnTo>
                    <a:pt x="166005" y="2227018"/>
                  </a:lnTo>
                  <a:lnTo>
                    <a:pt x="94635" y="2473729"/>
                  </a:lnTo>
                  <a:lnTo>
                    <a:pt x="42618" y="2728063"/>
                  </a:lnTo>
                  <a:lnTo>
                    <a:pt x="10794" y="2989179"/>
                  </a:lnTo>
                  <a:lnTo>
                    <a:pt x="0" y="3256241"/>
                  </a:lnTo>
                  <a:lnTo>
                    <a:pt x="6512483" y="3256241"/>
                  </a:lnTo>
                  <a:lnTo>
                    <a:pt x="6501689" y="2989179"/>
                  </a:lnTo>
                  <a:lnTo>
                    <a:pt x="6469865" y="2728063"/>
                  </a:lnTo>
                  <a:lnTo>
                    <a:pt x="6417848" y="2473729"/>
                  </a:lnTo>
                  <a:lnTo>
                    <a:pt x="6346478" y="2227018"/>
                  </a:lnTo>
                  <a:lnTo>
                    <a:pt x="6256591" y="1988766"/>
                  </a:lnTo>
                  <a:lnTo>
                    <a:pt x="6149027" y="1759812"/>
                  </a:lnTo>
                  <a:lnTo>
                    <a:pt x="6024623" y="1540993"/>
                  </a:lnTo>
                  <a:lnTo>
                    <a:pt x="5884217" y="1333148"/>
                  </a:lnTo>
                  <a:lnTo>
                    <a:pt x="5728647" y="1137115"/>
                  </a:lnTo>
                  <a:lnTo>
                    <a:pt x="5558751" y="953731"/>
                  </a:lnTo>
                  <a:lnTo>
                    <a:pt x="5375368" y="783836"/>
                  </a:lnTo>
                  <a:lnTo>
                    <a:pt x="5179335" y="628266"/>
                  </a:lnTo>
                  <a:lnTo>
                    <a:pt x="4971490" y="487860"/>
                  </a:lnTo>
                  <a:lnTo>
                    <a:pt x="4752671" y="363456"/>
                  </a:lnTo>
                  <a:lnTo>
                    <a:pt x="4523717" y="255891"/>
                  </a:lnTo>
                  <a:lnTo>
                    <a:pt x="4285465" y="166005"/>
                  </a:lnTo>
                  <a:lnTo>
                    <a:pt x="4038753" y="94635"/>
                  </a:lnTo>
                  <a:lnTo>
                    <a:pt x="3784420" y="42618"/>
                  </a:lnTo>
                  <a:lnTo>
                    <a:pt x="3523304" y="10794"/>
                  </a:lnTo>
                  <a:lnTo>
                    <a:pt x="3256241" y="0"/>
                  </a:lnTo>
                  <a:close/>
                </a:path>
              </a:pathLst>
            </a:custGeom>
            <a:solidFill>
              <a:srgbClr val="78B9E7"/>
            </a:solidFill>
            <a:ln>
              <a:solidFill>
                <a:srgbClr val="78B9E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object 6"/>
            <p:cNvSpPr/>
            <p:nvPr/>
          </p:nvSpPr>
          <p:spPr>
            <a:xfrm>
              <a:off x="2224753" y="1069237"/>
              <a:ext cx="7507166" cy="3753583"/>
            </a:xfrm>
            <a:custGeom>
              <a:avLst/>
              <a:gdLst/>
              <a:ahLst/>
              <a:cxnLst/>
              <a:rect l="l" t="t" r="r" b="b"/>
              <a:pathLst>
                <a:path w="6512559" h="3256279">
                  <a:moveTo>
                    <a:pt x="6512483" y="3256241"/>
                  </a:moveTo>
                  <a:lnTo>
                    <a:pt x="6501689" y="2989179"/>
                  </a:lnTo>
                  <a:lnTo>
                    <a:pt x="6469865" y="2728063"/>
                  </a:lnTo>
                  <a:lnTo>
                    <a:pt x="6417848" y="2473729"/>
                  </a:lnTo>
                  <a:lnTo>
                    <a:pt x="6346478" y="2227018"/>
                  </a:lnTo>
                  <a:lnTo>
                    <a:pt x="6256591" y="1988766"/>
                  </a:lnTo>
                  <a:lnTo>
                    <a:pt x="6149027" y="1759812"/>
                  </a:lnTo>
                  <a:lnTo>
                    <a:pt x="6024623" y="1540993"/>
                  </a:lnTo>
                  <a:lnTo>
                    <a:pt x="5884217" y="1333148"/>
                  </a:lnTo>
                  <a:lnTo>
                    <a:pt x="5728647" y="1137115"/>
                  </a:lnTo>
                  <a:lnTo>
                    <a:pt x="5558751" y="953731"/>
                  </a:lnTo>
                  <a:lnTo>
                    <a:pt x="5375368" y="783836"/>
                  </a:lnTo>
                  <a:lnTo>
                    <a:pt x="5179335" y="628266"/>
                  </a:lnTo>
                  <a:lnTo>
                    <a:pt x="4971490" y="487860"/>
                  </a:lnTo>
                  <a:lnTo>
                    <a:pt x="4752671" y="363456"/>
                  </a:lnTo>
                  <a:lnTo>
                    <a:pt x="4523717" y="255891"/>
                  </a:lnTo>
                  <a:lnTo>
                    <a:pt x="4285465" y="166005"/>
                  </a:lnTo>
                  <a:lnTo>
                    <a:pt x="4038753" y="94635"/>
                  </a:lnTo>
                  <a:lnTo>
                    <a:pt x="3784420" y="42618"/>
                  </a:lnTo>
                  <a:lnTo>
                    <a:pt x="3523304" y="10794"/>
                  </a:lnTo>
                  <a:lnTo>
                    <a:pt x="3256241" y="0"/>
                  </a:lnTo>
                  <a:lnTo>
                    <a:pt x="2989179" y="10794"/>
                  </a:lnTo>
                  <a:lnTo>
                    <a:pt x="2728063" y="42618"/>
                  </a:lnTo>
                  <a:lnTo>
                    <a:pt x="2473729" y="94635"/>
                  </a:lnTo>
                  <a:lnTo>
                    <a:pt x="2227018" y="166005"/>
                  </a:lnTo>
                  <a:lnTo>
                    <a:pt x="1988766" y="255891"/>
                  </a:lnTo>
                  <a:lnTo>
                    <a:pt x="1759812" y="363456"/>
                  </a:lnTo>
                  <a:lnTo>
                    <a:pt x="1540993" y="487860"/>
                  </a:lnTo>
                  <a:lnTo>
                    <a:pt x="1333148" y="628266"/>
                  </a:lnTo>
                  <a:lnTo>
                    <a:pt x="1137115" y="783836"/>
                  </a:lnTo>
                  <a:lnTo>
                    <a:pt x="953731" y="953731"/>
                  </a:lnTo>
                  <a:lnTo>
                    <a:pt x="783836" y="1137115"/>
                  </a:lnTo>
                  <a:lnTo>
                    <a:pt x="628266" y="1333148"/>
                  </a:lnTo>
                  <a:lnTo>
                    <a:pt x="487860" y="1540993"/>
                  </a:lnTo>
                  <a:lnTo>
                    <a:pt x="363456" y="1759812"/>
                  </a:lnTo>
                  <a:lnTo>
                    <a:pt x="255891" y="1988766"/>
                  </a:lnTo>
                  <a:lnTo>
                    <a:pt x="166005" y="2227018"/>
                  </a:lnTo>
                  <a:lnTo>
                    <a:pt x="94635" y="2473729"/>
                  </a:lnTo>
                  <a:lnTo>
                    <a:pt x="42618" y="2728063"/>
                  </a:lnTo>
                  <a:lnTo>
                    <a:pt x="10794" y="2989179"/>
                  </a:lnTo>
                  <a:lnTo>
                    <a:pt x="0" y="3256241"/>
                  </a:lnTo>
                  <a:lnTo>
                    <a:pt x="6512483" y="3256241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object 7"/>
            <p:cNvSpPr/>
            <p:nvPr/>
          </p:nvSpPr>
          <p:spPr>
            <a:xfrm>
              <a:off x="3362472" y="2211712"/>
              <a:ext cx="5232179" cy="2611698"/>
            </a:xfrm>
            <a:custGeom>
              <a:avLst/>
              <a:gdLst/>
              <a:ahLst/>
              <a:cxnLst/>
              <a:rect l="l" t="t" r="r" b="b"/>
              <a:pathLst>
                <a:path w="4538980" h="2265679">
                  <a:moveTo>
                    <a:pt x="2269261" y="0"/>
                  </a:moveTo>
                  <a:lnTo>
                    <a:pt x="2083145" y="7508"/>
                  </a:lnTo>
                  <a:lnTo>
                    <a:pt x="1901173" y="29646"/>
                  </a:lnTo>
                  <a:lnTo>
                    <a:pt x="1723928" y="65830"/>
                  </a:lnTo>
                  <a:lnTo>
                    <a:pt x="1551996" y="115477"/>
                  </a:lnTo>
                  <a:lnTo>
                    <a:pt x="1385958" y="178005"/>
                  </a:lnTo>
                  <a:lnTo>
                    <a:pt x="1226401" y="252829"/>
                  </a:lnTo>
                  <a:lnTo>
                    <a:pt x="1073907" y="339368"/>
                  </a:lnTo>
                  <a:lnTo>
                    <a:pt x="929061" y="437038"/>
                  </a:lnTo>
                  <a:lnTo>
                    <a:pt x="792446" y="545257"/>
                  </a:lnTo>
                  <a:lnTo>
                    <a:pt x="664648" y="663441"/>
                  </a:lnTo>
                  <a:lnTo>
                    <a:pt x="546248" y="791008"/>
                  </a:lnTo>
                  <a:lnTo>
                    <a:pt x="437833" y="927374"/>
                  </a:lnTo>
                  <a:lnTo>
                    <a:pt x="339985" y="1071957"/>
                  </a:lnTo>
                  <a:lnTo>
                    <a:pt x="253289" y="1224173"/>
                  </a:lnTo>
                  <a:lnTo>
                    <a:pt x="178328" y="1383440"/>
                  </a:lnTo>
                  <a:lnTo>
                    <a:pt x="115687" y="1549175"/>
                  </a:lnTo>
                  <a:lnTo>
                    <a:pt x="65950" y="1720795"/>
                  </a:lnTo>
                  <a:lnTo>
                    <a:pt x="29700" y="1897716"/>
                  </a:lnTo>
                  <a:lnTo>
                    <a:pt x="7522" y="2079357"/>
                  </a:lnTo>
                  <a:lnTo>
                    <a:pt x="0" y="2265133"/>
                  </a:lnTo>
                  <a:lnTo>
                    <a:pt x="4538522" y="2265133"/>
                  </a:lnTo>
                  <a:lnTo>
                    <a:pt x="4531000" y="2079357"/>
                  </a:lnTo>
                  <a:lnTo>
                    <a:pt x="4508821" y="1897716"/>
                  </a:lnTo>
                  <a:lnTo>
                    <a:pt x="4472571" y="1720795"/>
                  </a:lnTo>
                  <a:lnTo>
                    <a:pt x="4422833" y="1549175"/>
                  </a:lnTo>
                  <a:lnTo>
                    <a:pt x="4360192" y="1383440"/>
                  </a:lnTo>
                  <a:lnTo>
                    <a:pt x="4285231" y="1224173"/>
                  </a:lnTo>
                  <a:lnTo>
                    <a:pt x="4198534" y="1071957"/>
                  </a:lnTo>
                  <a:lnTo>
                    <a:pt x="4100685" y="927374"/>
                  </a:lnTo>
                  <a:lnTo>
                    <a:pt x="3992269" y="791008"/>
                  </a:lnTo>
                  <a:lnTo>
                    <a:pt x="3873869" y="663441"/>
                  </a:lnTo>
                  <a:lnTo>
                    <a:pt x="3746070" y="545257"/>
                  </a:lnTo>
                  <a:lnTo>
                    <a:pt x="3609455" y="437038"/>
                  </a:lnTo>
                  <a:lnTo>
                    <a:pt x="3464609" y="339368"/>
                  </a:lnTo>
                  <a:lnTo>
                    <a:pt x="3312115" y="252829"/>
                  </a:lnTo>
                  <a:lnTo>
                    <a:pt x="3152558" y="178005"/>
                  </a:lnTo>
                  <a:lnTo>
                    <a:pt x="2986521" y="115477"/>
                  </a:lnTo>
                  <a:lnTo>
                    <a:pt x="2814589" y="65830"/>
                  </a:lnTo>
                  <a:lnTo>
                    <a:pt x="2637346" y="29646"/>
                  </a:lnTo>
                  <a:lnTo>
                    <a:pt x="2455375" y="7508"/>
                  </a:lnTo>
                  <a:lnTo>
                    <a:pt x="2269261" y="0"/>
                  </a:lnTo>
                  <a:close/>
                </a:path>
              </a:pathLst>
            </a:custGeom>
            <a:solidFill>
              <a:srgbClr val="FFC2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8"/>
            <p:cNvSpPr/>
            <p:nvPr/>
          </p:nvSpPr>
          <p:spPr>
            <a:xfrm>
              <a:off x="3362472" y="2211712"/>
              <a:ext cx="5232179" cy="2611698"/>
            </a:xfrm>
            <a:custGeom>
              <a:avLst/>
              <a:gdLst/>
              <a:ahLst/>
              <a:cxnLst/>
              <a:rect l="l" t="t" r="r" b="b"/>
              <a:pathLst>
                <a:path w="4538980" h="2265679">
                  <a:moveTo>
                    <a:pt x="4538522" y="2265133"/>
                  </a:moveTo>
                  <a:lnTo>
                    <a:pt x="4531000" y="2079357"/>
                  </a:lnTo>
                  <a:lnTo>
                    <a:pt x="4508821" y="1897716"/>
                  </a:lnTo>
                  <a:lnTo>
                    <a:pt x="4472571" y="1720795"/>
                  </a:lnTo>
                  <a:lnTo>
                    <a:pt x="4422833" y="1549175"/>
                  </a:lnTo>
                  <a:lnTo>
                    <a:pt x="4360192" y="1383440"/>
                  </a:lnTo>
                  <a:lnTo>
                    <a:pt x="4285231" y="1224173"/>
                  </a:lnTo>
                  <a:lnTo>
                    <a:pt x="4198534" y="1071957"/>
                  </a:lnTo>
                  <a:lnTo>
                    <a:pt x="4100685" y="927374"/>
                  </a:lnTo>
                  <a:lnTo>
                    <a:pt x="3992269" y="791008"/>
                  </a:lnTo>
                  <a:lnTo>
                    <a:pt x="3873869" y="663441"/>
                  </a:lnTo>
                  <a:lnTo>
                    <a:pt x="3746070" y="545257"/>
                  </a:lnTo>
                  <a:lnTo>
                    <a:pt x="3609455" y="437038"/>
                  </a:lnTo>
                  <a:lnTo>
                    <a:pt x="3464609" y="339368"/>
                  </a:lnTo>
                  <a:lnTo>
                    <a:pt x="3312115" y="252829"/>
                  </a:lnTo>
                  <a:lnTo>
                    <a:pt x="3152558" y="178005"/>
                  </a:lnTo>
                  <a:lnTo>
                    <a:pt x="2986521" y="115477"/>
                  </a:lnTo>
                  <a:lnTo>
                    <a:pt x="2814589" y="65830"/>
                  </a:lnTo>
                  <a:lnTo>
                    <a:pt x="2637346" y="29646"/>
                  </a:lnTo>
                  <a:lnTo>
                    <a:pt x="2455375" y="7508"/>
                  </a:lnTo>
                  <a:lnTo>
                    <a:pt x="2269261" y="0"/>
                  </a:lnTo>
                  <a:lnTo>
                    <a:pt x="2083145" y="7508"/>
                  </a:lnTo>
                  <a:lnTo>
                    <a:pt x="1901173" y="29646"/>
                  </a:lnTo>
                  <a:lnTo>
                    <a:pt x="1723928" y="65830"/>
                  </a:lnTo>
                  <a:lnTo>
                    <a:pt x="1551996" y="115477"/>
                  </a:lnTo>
                  <a:lnTo>
                    <a:pt x="1385958" y="178005"/>
                  </a:lnTo>
                  <a:lnTo>
                    <a:pt x="1226401" y="252829"/>
                  </a:lnTo>
                  <a:lnTo>
                    <a:pt x="1073907" y="339368"/>
                  </a:lnTo>
                  <a:lnTo>
                    <a:pt x="929061" y="437038"/>
                  </a:lnTo>
                  <a:lnTo>
                    <a:pt x="792446" y="545257"/>
                  </a:lnTo>
                  <a:lnTo>
                    <a:pt x="664648" y="663441"/>
                  </a:lnTo>
                  <a:lnTo>
                    <a:pt x="546248" y="791008"/>
                  </a:lnTo>
                  <a:lnTo>
                    <a:pt x="437833" y="927374"/>
                  </a:lnTo>
                  <a:lnTo>
                    <a:pt x="339985" y="1071957"/>
                  </a:lnTo>
                  <a:lnTo>
                    <a:pt x="253289" y="1224173"/>
                  </a:lnTo>
                  <a:lnTo>
                    <a:pt x="178328" y="1383440"/>
                  </a:lnTo>
                  <a:lnTo>
                    <a:pt x="115687" y="1549175"/>
                  </a:lnTo>
                  <a:lnTo>
                    <a:pt x="65950" y="1720795"/>
                  </a:lnTo>
                  <a:lnTo>
                    <a:pt x="29700" y="1897716"/>
                  </a:lnTo>
                  <a:lnTo>
                    <a:pt x="7522" y="2079357"/>
                  </a:lnTo>
                  <a:lnTo>
                    <a:pt x="0" y="2265133"/>
                  </a:lnTo>
                  <a:lnTo>
                    <a:pt x="4538522" y="2265133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object 9"/>
            <p:cNvSpPr/>
            <p:nvPr/>
          </p:nvSpPr>
          <p:spPr>
            <a:xfrm>
              <a:off x="4352893" y="3208650"/>
              <a:ext cx="3251447" cy="1622795"/>
            </a:xfrm>
            <a:custGeom>
              <a:avLst/>
              <a:gdLst/>
              <a:ahLst/>
              <a:cxnLst/>
              <a:rect l="l" t="t" r="r" b="b"/>
              <a:pathLst>
                <a:path w="2820670" h="1407795">
                  <a:moveTo>
                    <a:pt x="1410055" y="0"/>
                  </a:moveTo>
                  <a:lnTo>
                    <a:pt x="1294409" y="4665"/>
                  </a:lnTo>
                  <a:lnTo>
                    <a:pt x="1181337" y="18421"/>
                  </a:lnTo>
                  <a:lnTo>
                    <a:pt x="1071203" y="40905"/>
                  </a:lnTo>
                  <a:lnTo>
                    <a:pt x="964369" y="71755"/>
                  </a:lnTo>
                  <a:lnTo>
                    <a:pt x="861198" y="110608"/>
                  </a:lnTo>
                  <a:lnTo>
                    <a:pt x="762054" y="157102"/>
                  </a:lnTo>
                  <a:lnTo>
                    <a:pt x="667298" y="210875"/>
                  </a:lnTo>
                  <a:lnTo>
                    <a:pt x="577295" y="271565"/>
                  </a:lnTo>
                  <a:lnTo>
                    <a:pt x="492406" y="338810"/>
                  </a:lnTo>
                  <a:lnTo>
                    <a:pt x="412996" y="412246"/>
                  </a:lnTo>
                  <a:lnTo>
                    <a:pt x="339425" y="491513"/>
                  </a:lnTo>
                  <a:lnTo>
                    <a:pt x="272059" y="576247"/>
                  </a:lnTo>
                  <a:lnTo>
                    <a:pt x="211258" y="666087"/>
                  </a:lnTo>
                  <a:lnTo>
                    <a:pt x="157388" y="760670"/>
                  </a:lnTo>
                  <a:lnTo>
                    <a:pt x="110809" y="859634"/>
                  </a:lnTo>
                  <a:lnTo>
                    <a:pt x="71885" y="962616"/>
                  </a:lnTo>
                  <a:lnTo>
                    <a:pt x="40980" y="1069256"/>
                  </a:lnTo>
                  <a:lnTo>
                    <a:pt x="18455" y="1179189"/>
                  </a:lnTo>
                  <a:lnTo>
                    <a:pt x="4674" y="1292054"/>
                  </a:lnTo>
                  <a:lnTo>
                    <a:pt x="0" y="1407490"/>
                  </a:lnTo>
                  <a:lnTo>
                    <a:pt x="2820111" y="1407490"/>
                  </a:lnTo>
                  <a:lnTo>
                    <a:pt x="2815436" y="1292054"/>
                  </a:lnTo>
                  <a:lnTo>
                    <a:pt x="2801655" y="1179189"/>
                  </a:lnTo>
                  <a:lnTo>
                    <a:pt x="2779131" y="1069256"/>
                  </a:lnTo>
                  <a:lnTo>
                    <a:pt x="2748225" y="962616"/>
                  </a:lnTo>
                  <a:lnTo>
                    <a:pt x="2709301" y="859634"/>
                  </a:lnTo>
                  <a:lnTo>
                    <a:pt x="2662723" y="760670"/>
                  </a:lnTo>
                  <a:lnTo>
                    <a:pt x="2608852" y="666087"/>
                  </a:lnTo>
                  <a:lnTo>
                    <a:pt x="2548052" y="576247"/>
                  </a:lnTo>
                  <a:lnTo>
                    <a:pt x="2480685" y="491513"/>
                  </a:lnTo>
                  <a:lnTo>
                    <a:pt x="2407115" y="412246"/>
                  </a:lnTo>
                  <a:lnTo>
                    <a:pt x="2327704" y="338810"/>
                  </a:lnTo>
                  <a:lnTo>
                    <a:pt x="2242815" y="271565"/>
                  </a:lnTo>
                  <a:lnTo>
                    <a:pt x="2152812" y="210875"/>
                  </a:lnTo>
                  <a:lnTo>
                    <a:pt x="2058056" y="157102"/>
                  </a:lnTo>
                  <a:lnTo>
                    <a:pt x="1958912" y="110608"/>
                  </a:lnTo>
                  <a:lnTo>
                    <a:pt x="1855741" y="71755"/>
                  </a:lnTo>
                  <a:lnTo>
                    <a:pt x="1748907" y="40905"/>
                  </a:lnTo>
                  <a:lnTo>
                    <a:pt x="1638773" y="18421"/>
                  </a:lnTo>
                  <a:lnTo>
                    <a:pt x="1525701" y="4665"/>
                  </a:lnTo>
                  <a:lnTo>
                    <a:pt x="1410055" y="0"/>
                  </a:lnTo>
                  <a:close/>
                </a:path>
              </a:pathLst>
            </a:custGeom>
            <a:solidFill>
              <a:srgbClr val="76C043"/>
            </a:solidFill>
            <a:ln>
              <a:solidFill>
                <a:srgbClr val="76C04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bject 10"/>
            <p:cNvSpPr/>
            <p:nvPr/>
          </p:nvSpPr>
          <p:spPr>
            <a:xfrm>
              <a:off x="4352893" y="3208650"/>
              <a:ext cx="3251447" cy="1622795"/>
            </a:xfrm>
            <a:custGeom>
              <a:avLst/>
              <a:gdLst/>
              <a:ahLst/>
              <a:cxnLst/>
              <a:rect l="l" t="t" r="r" b="b"/>
              <a:pathLst>
                <a:path w="2820670" h="1407795">
                  <a:moveTo>
                    <a:pt x="2820111" y="1407490"/>
                  </a:moveTo>
                  <a:lnTo>
                    <a:pt x="2815436" y="1292054"/>
                  </a:lnTo>
                  <a:lnTo>
                    <a:pt x="2801655" y="1179189"/>
                  </a:lnTo>
                  <a:lnTo>
                    <a:pt x="2779131" y="1069256"/>
                  </a:lnTo>
                  <a:lnTo>
                    <a:pt x="2748225" y="962616"/>
                  </a:lnTo>
                  <a:lnTo>
                    <a:pt x="2709301" y="859634"/>
                  </a:lnTo>
                  <a:lnTo>
                    <a:pt x="2662723" y="760670"/>
                  </a:lnTo>
                  <a:lnTo>
                    <a:pt x="2608852" y="666087"/>
                  </a:lnTo>
                  <a:lnTo>
                    <a:pt x="2548052" y="576247"/>
                  </a:lnTo>
                  <a:lnTo>
                    <a:pt x="2480685" y="491513"/>
                  </a:lnTo>
                  <a:lnTo>
                    <a:pt x="2407115" y="412246"/>
                  </a:lnTo>
                  <a:lnTo>
                    <a:pt x="2327704" y="338810"/>
                  </a:lnTo>
                  <a:lnTo>
                    <a:pt x="2242815" y="271565"/>
                  </a:lnTo>
                  <a:lnTo>
                    <a:pt x="2152812" y="210875"/>
                  </a:lnTo>
                  <a:lnTo>
                    <a:pt x="2058056" y="157102"/>
                  </a:lnTo>
                  <a:lnTo>
                    <a:pt x="1958912" y="110608"/>
                  </a:lnTo>
                  <a:lnTo>
                    <a:pt x="1855741" y="71755"/>
                  </a:lnTo>
                  <a:lnTo>
                    <a:pt x="1748907" y="40905"/>
                  </a:lnTo>
                  <a:lnTo>
                    <a:pt x="1638773" y="18421"/>
                  </a:lnTo>
                  <a:lnTo>
                    <a:pt x="1525701" y="4665"/>
                  </a:lnTo>
                  <a:lnTo>
                    <a:pt x="1410055" y="0"/>
                  </a:lnTo>
                  <a:lnTo>
                    <a:pt x="1294409" y="4665"/>
                  </a:lnTo>
                  <a:lnTo>
                    <a:pt x="1181337" y="18421"/>
                  </a:lnTo>
                  <a:lnTo>
                    <a:pt x="1071203" y="40905"/>
                  </a:lnTo>
                  <a:lnTo>
                    <a:pt x="964369" y="71755"/>
                  </a:lnTo>
                  <a:lnTo>
                    <a:pt x="861198" y="110608"/>
                  </a:lnTo>
                  <a:lnTo>
                    <a:pt x="762054" y="157102"/>
                  </a:lnTo>
                  <a:lnTo>
                    <a:pt x="667298" y="210875"/>
                  </a:lnTo>
                  <a:lnTo>
                    <a:pt x="577295" y="271565"/>
                  </a:lnTo>
                  <a:lnTo>
                    <a:pt x="492406" y="338810"/>
                  </a:lnTo>
                  <a:lnTo>
                    <a:pt x="412996" y="412246"/>
                  </a:lnTo>
                  <a:lnTo>
                    <a:pt x="339425" y="491513"/>
                  </a:lnTo>
                  <a:lnTo>
                    <a:pt x="272059" y="576247"/>
                  </a:lnTo>
                  <a:lnTo>
                    <a:pt x="211258" y="666087"/>
                  </a:lnTo>
                  <a:lnTo>
                    <a:pt x="157388" y="760670"/>
                  </a:lnTo>
                  <a:lnTo>
                    <a:pt x="110809" y="859634"/>
                  </a:lnTo>
                  <a:lnTo>
                    <a:pt x="71885" y="962616"/>
                  </a:lnTo>
                  <a:lnTo>
                    <a:pt x="40980" y="1069256"/>
                  </a:lnTo>
                  <a:lnTo>
                    <a:pt x="18455" y="1179189"/>
                  </a:lnTo>
                  <a:lnTo>
                    <a:pt x="4674" y="1292054"/>
                  </a:lnTo>
                  <a:lnTo>
                    <a:pt x="0" y="1407490"/>
                  </a:lnTo>
                  <a:lnTo>
                    <a:pt x="2820111" y="140749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11"/>
            <p:cNvSpPr txBox="1"/>
            <p:nvPr/>
          </p:nvSpPr>
          <p:spPr>
            <a:xfrm>
              <a:off x="4954297" y="1370667"/>
              <a:ext cx="2048075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spc="185" dirty="0">
                  <a:solidFill>
                    <a:schemeClr val="bg1"/>
                  </a:solidFill>
                  <a:latin typeface="Bogle" panose="020B0503020203060203" pitchFamily="34" charset="0"/>
                  <a:cs typeface="Calibri"/>
                </a:rPr>
                <a:t>Digital Transformation</a:t>
              </a:r>
              <a:endParaRPr kumimoji="0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Calibri"/>
              </a:endParaRPr>
            </a:p>
          </p:txBody>
        </p:sp>
        <p:sp>
          <p:nvSpPr>
            <p:cNvPr id="17" name="object 12"/>
            <p:cNvSpPr txBox="1"/>
            <p:nvPr/>
          </p:nvSpPr>
          <p:spPr>
            <a:xfrm>
              <a:off x="5013162" y="3485081"/>
              <a:ext cx="2065274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14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Calibri"/>
                </a:rPr>
                <a:t>Digitization</a:t>
              </a:r>
              <a:endParaRPr kumimoji="0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Century Gothic"/>
              </a:endParaRPr>
            </a:p>
          </p:txBody>
        </p:sp>
        <p:sp>
          <p:nvSpPr>
            <p:cNvPr id="25" name="object 11"/>
            <p:cNvSpPr txBox="1"/>
            <p:nvPr/>
          </p:nvSpPr>
          <p:spPr>
            <a:xfrm>
              <a:off x="4964090" y="2402050"/>
              <a:ext cx="2048075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spc="125" dirty="0">
                  <a:solidFill>
                    <a:schemeClr val="bg1"/>
                  </a:solidFill>
                  <a:latin typeface="Bogle" panose="020B0503020203060203" pitchFamily="34" charset="0"/>
                  <a:cs typeface="Calibri"/>
                </a:rPr>
                <a:t>Digitalization</a:t>
              </a:r>
              <a:endParaRPr kumimoji="0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Century Gothic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D35F514-B5B5-40E6-8802-D84049F37D52}"/>
              </a:ext>
            </a:extLst>
          </p:cNvPr>
          <p:cNvGrpSpPr/>
          <p:nvPr/>
        </p:nvGrpSpPr>
        <p:grpSpPr>
          <a:xfrm>
            <a:off x="7880391" y="5048308"/>
            <a:ext cx="3144442" cy="1238106"/>
            <a:chOff x="53498" y="4737187"/>
            <a:chExt cx="3144442" cy="1534437"/>
          </a:xfrm>
          <a:noFill/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15F6C2A0-2177-4279-B871-EAE6AE805062}"/>
                </a:ext>
              </a:extLst>
            </p:cNvPr>
            <p:cNvSpPr/>
            <p:nvPr/>
          </p:nvSpPr>
          <p:spPr>
            <a:xfrm>
              <a:off x="53498" y="4737187"/>
              <a:ext cx="3144442" cy="1534437"/>
            </a:xfrm>
            <a:prstGeom prst="round2DiagRect">
              <a:avLst/>
            </a:prstGeom>
            <a:grpFill/>
            <a:ln w="28575">
              <a:solidFill>
                <a:srgbClr val="76C04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object 11"/>
            <p:cNvSpPr txBox="1"/>
            <p:nvPr/>
          </p:nvSpPr>
          <p:spPr>
            <a:xfrm>
              <a:off x="129273" y="4774702"/>
              <a:ext cx="2992891" cy="1395834"/>
            </a:xfrm>
            <a:prstGeom prst="rect">
              <a:avLst/>
            </a:prstGeom>
            <a:grpFill/>
            <a:ln w="28575">
              <a:noFill/>
              <a:prstDash val="dash"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84150" marR="5080" lvl="0" indent="-171450" algn="l" defTabSz="914400" rtl="0" eaLnBrk="1" fontAlgn="auto" latinLnBrk="0" hangingPunct="1">
                <a:lnSpc>
                  <a:spcPct val="1125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Century Gothic"/>
                </a:rPr>
                <a:t>Converting paper based info to digital formats</a:t>
              </a:r>
            </a:p>
            <a:p>
              <a:pPr marL="184150" marR="5080" lvl="0" indent="-171450" algn="l" defTabSz="914400" rtl="0" eaLnBrk="1" fontAlgn="auto" latinLnBrk="0" hangingPunct="1">
                <a:lnSpc>
                  <a:spcPct val="1125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dirty="0" err="1">
                  <a:solidFill>
                    <a:sysClr val="windowText" lastClr="000000"/>
                  </a:solidFill>
                  <a:latin typeface="Bogle" panose="020B0503020203060203" pitchFamily="34" charset="0"/>
                  <a:cs typeface="Century Gothic"/>
                </a:rPr>
                <a:t>Eg</a:t>
              </a:r>
              <a:r>
                <a:rPr lang="en-US" sz="1600" dirty="0">
                  <a:solidFill>
                    <a:sysClr val="windowText" lastClr="000000"/>
                  </a:solidFill>
                  <a:latin typeface="Bogle" panose="020B0503020203060203" pitchFamily="34" charset="0"/>
                  <a:cs typeface="Century Gothic"/>
                </a:rPr>
                <a:t>: Paper contracts to e-contracts, tender to e-tende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Century Gothic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A0BEEC7-DD68-4CF9-8FCA-2975F2D8ED10}"/>
              </a:ext>
            </a:extLst>
          </p:cNvPr>
          <p:cNvGrpSpPr/>
          <p:nvPr/>
        </p:nvGrpSpPr>
        <p:grpSpPr>
          <a:xfrm>
            <a:off x="1005642" y="5048308"/>
            <a:ext cx="3144442" cy="1303173"/>
            <a:chOff x="53498" y="4737187"/>
            <a:chExt cx="3144442" cy="1534437"/>
          </a:xfrm>
          <a:solidFill>
            <a:srgbClr val="76C043"/>
          </a:solidFill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CD013F74-A641-4C6F-A605-CAB0F3A97491}"/>
                </a:ext>
              </a:extLst>
            </p:cNvPr>
            <p:cNvSpPr/>
            <p:nvPr/>
          </p:nvSpPr>
          <p:spPr>
            <a:xfrm>
              <a:off x="53498" y="4737187"/>
              <a:ext cx="3144442" cy="1534437"/>
            </a:xfrm>
            <a:prstGeom prst="round2DiagRect">
              <a:avLst/>
            </a:prstGeom>
            <a:noFill/>
            <a:ln w="28575">
              <a:solidFill>
                <a:srgbClr val="78B9E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object 11">
              <a:extLst>
                <a:ext uri="{FF2B5EF4-FFF2-40B4-BE49-F238E27FC236}">
                  <a16:creationId xmlns:a16="http://schemas.microsoft.com/office/drawing/2014/main" id="{7EE21496-FFF8-4B43-9A44-D685A363C0AB}"/>
                </a:ext>
              </a:extLst>
            </p:cNvPr>
            <p:cNvSpPr txBox="1"/>
            <p:nvPr/>
          </p:nvSpPr>
          <p:spPr>
            <a:xfrm>
              <a:off x="162008" y="4826437"/>
              <a:ext cx="2748931" cy="1326142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84150" marR="5080" lvl="0" indent="-171450" algn="l" defTabSz="914400" rtl="0" eaLnBrk="1" fontAlgn="auto" latinLnBrk="0" hangingPunct="1">
                <a:lnSpc>
                  <a:spcPct val="1125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Century Gothic"/>
                </a:rPr>
                <a:t>Enablement across people, process &amp; technology</a:t>
              </a:r>
            </a:p>
            <a:p>
              <a:pPr marL="184150" marR="5080" lvl="0" indent="-171450" algn="l" defTabSz="914400" rtl="0" eaLnBrk="1" fontAlgn="auto" latinLnBrk="0" hangingPunct="1">
                <a:lnSpc>
                  <a:spcPct val="1125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600" dirty="0">
                  <a:solidFill>
                    <a:sysClr val="windowText" lastClr="000000"/>
                  </a:solidFill>
                  <a:latin typeface="Bogle" panose="020B0503020203060203" pitchFamily="34" charset="0"/>
                  <a:cs typeface="Century Gothic"/>
                </a:rPr>
                <a:t>Multi process optimization across cost &amp; </a:t>
              </a:r>
              <a:r>
                <a:rPr lang="en-US" altLang="zh-CN" sz="1600" dirty="0">
                  <a:solidFill>
                    <a:sysClr val="windowText" lastClr="000000"/>
                  </a:solidFill>
                  <a:latin typeface="Bogle" panose="020B0503020203060203" pitchFamily="34" charset="0"/>
                  <a:cs typeface="Century Gothic"/>
                </a:rPr>
                <a:t>revenue cente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Century Gothic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9FC1C6B-61E4-45FD-A760-35B2EB281588}"/>
              </a:ext>
            </a:extLst>
          </p:cNvPr>
          <p:cNvGrpSpPr/>
          <p:nvPr/>
        </p:nvGrpSpPr>
        <p:grpSpPr>
          <a:xfrm>
            <a:off x="4415906" y="5048309"/>
            <a:ext cx="3160372" cy="1501160"/>
            <a:chOff x="53498" y="4737187"/>
            <a:chExt cx="3160372" cy="1767559"/>
          </a:xfrm>
          <a:solidFill>
            <a:schemeClr val="accent1">
              <a:lumMod val="50000"/>
            </a:schemeClr>
          </a:solidFill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AAA25899-C4E1-4D7F-B96B-F4FB8833E157}"/>
                </a:ext>
              </a:extLst>
            </p:cNvPr>
            <p:cNvSpPr/>
            <p:nvPr/>
          </p:nvSpPr>
          <p:spPr>
            <a:xfrm>
              <a:off x="53498" y="4737187"/>
              <a:ext cx="3144442" cy="1534437"/>
            </a:xfrm>
            <a:prstGeom prst="round2DiagRect">
              <a:avLst/>
            </a:prstGeom>
            <a:noFill/>
            <a:ln w="28575">
              <a:solidFill>
                <a:srgbClr val="FFC22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object 11">
              <a:extLst>
                <a:ext uri="{FF2B5EF4-FFF2-40B4-BE49-F238E27FC236}">
                  <a16:creationId xmlns:a16="http://schemas.microsoft.com/office/drawing/2014/main" id="{AD84ED27-1C57-4D9B-BA54-1C6C98458FCB}"/>
                </a:ext>
              </a:extLst>
            </p:cNvPr>
            <p:cNvSpPr txBox="1"/>
            <p:nvPr/>
          </p:nvSpPr>
          <p:spPr>
            <a:xfrm>
              <a:off x="220979" y="4820816"/>
              <a:ext cx="2992891" cy="16839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184150" marR="5080" lvl="0" indent="-171450" algn="l" defTabSz="914400" rtl="0" eaLnBrk="1" fontAlgn="auto" latinLnBrk="0" hangingPunct="1">
                <a:lnSpc>
                  <a:spcPct val="1125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Century Gothic"/>
                </a:rPr>
                <a:t>Busines</a:t>
              </a:r>
              <a:r>
                <a:rPr lang="en-US" altLang="zh-CN" sz="1600" dirty="0">
                  <a:solidFill>
                    <a:sysClr val="windowText" lastClr="000000"/>
                  </a:solidFill>
                  <a:latin typeface="Bogle" panose="020B0503020203060203" pitchFamily="34" charset="0"/>
                  <a:cs typeface="Century Gothic"/>
                </a:rPr>
                <a:t>s processes &amp; tools enabling incremental value creation from digitized data</a:t>
              </a:r>
            </a:p>
            <a:p>
              <a:pPr marL="184150" marR="5080" lvl="0" indent="-171450" algn="l" defTabSz="914400" rtl="0" eaLnBrk="1" fontAlgn="auto" latinLnBrk="0" hangingPunct="1">
                <a:lnSpc>
                  <a:spcPct val="1125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Century Gothic"/>
                </a:rPr>
                <a:t>Eg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Bogle" panose="020B0503020203060203" pitchFamily="34" charset="0"/>
                  <a:ea typeface="+mn-ea"/>
                  <a:cs typeface="Century Gothic"/>
                </a:rPr>
                <a:t>: RPA, </a:t>
              </a:r>
              <a:r>
                <a:rPr lang="en-US" sz="1600" dirty="0">
                  <a:solidFill>
                    <a:sysClr val="windowText" lastClr="000000"/>
                  </a:solidFill>
                  <a:latin typeface="Bogle" panose="020B0503020203060203" pitchFamily="34" charset="0"/>
                  <a:cs typeface="Century Gothic"/>
                </a:rPr>
                <a:t>AI, cognitive reporting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Century Gothic"/>
              </a:endParaRPr>
            </a:p>
            <a:p>
              <a:pPr marL="184150" marR="5080" lvl="0" indent="-171450" algn="l" defTabSz="914400" rtl="0" eaLnBrk="1" fontAlgn="auto" latinLnBrk="0" hangingPunct="1">
                <a:lnSpc>
                  <a:spcPct val="1125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  <a:ea typeface="+mn-ea"/>
                <a:cs typeface="Century Gothic"/>
              </a:endParaRPr>
            </a:p>
          </p:txBody>
        </p:sp>
      </p:grpSp>
      <p:sp>
        <p:nvSpPr>
          <p:cNvPr id="2" name="Rectangle 5">
            <a:extLst>
              <a:ext uri="{FF2B5EF4-FFF2-40B4-BE49-F238E27FC236}">
                <a16:creationId xmlns:a16="http://schemas.microsoft.com/office/drawing/2014/main" id="{018D6743-414D-1662-AABE-578F06C0BAEE}"/>
              </a:ext>
            </a:extLst>
          </p:cNvPr>
          <p:cNvSpPr/>
          <p:nvPr/>
        </p:nvSpPr>
        <p:spPr>
          <a:xfrm>
            <a:off x="-609600" y="488950"/>
            <a:ext cx="228600" cy="228600"/>
          </a:xfrm>
          <a:prstGeom prst="rect">
            <a:avLst/>
          </a:prstGeom>
          <a:solidFill>
            <a:srgbClr val="081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81F2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E081C945-9031-3E1B-8CCC-08DD131DED73}"/>
              </a:ext>
            </a:extLst>
          </p:cNvPr>
          <p:cNvSpPr/>
          <p:nvPr/>
        </p:nvSpPr>
        <p:spPr>
          <a:xfrm>
            <a:off x="-609600" y="829733"/>
            <a:ext cx="228600" cy="228600"/>
          </a:xfrm>
          <a:prstGeom prst="rect">
            <a:avLst/>
          </a:prstGeom>
          <a:solidFill>
            <a:srgbClr val="78B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8B9E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D0DB4D-78E3-E61A-E01D-0E188D21F7EC}"/>
              </a:ext>
            </a:extLst>
          </p:cNvPr>
          <p:cNvSpPr/>
          <p:nvPr/>
        </p:nvSpPr>
        <p:spPr>
          <a:xfrm>
            <a:off x="-609600" y="1511299"/>
            <a:ext cx="228600" cy="228600"/>
          </a:xfrm>
          <a:prstGeom prst="rect">
            <a:avLst/>
          </a:prstGeom>
          <a:solidFill>
            <a:srgbClr val="007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37F6B8A6-8DB3-AAC8-C7BA-F79F2860970C}"/>
              </a:ext>
            </a:extLst>
          </p:cNvPr>
          <p:cNvSpPr/>
          <p:nvPr/>
        </p:nvSpPr>
        <p:spPr>
          <a:xfrm>
            <a:off x="-609600" y="1850319"/>
            <a:ext cx="228600" cy="228600"/>
          </a:xfrm>
          <a:prstGeom prst="rect">
            <a:avLst/>
          </a:prstGeom>
          <a:solidFill>
            <a:srgbClr val="EB14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9">
            <a:extLst>
              <a:ext uri="{FF2B5EF4-FFF2-40B4-BE49-F238E27FC236}">
                <a16:creationId xmlns:a16="http://schemas.microsoft.com/office/drawing/2014/main" id="{AFBBE6A6-E371-BD6F-78CF-EBE9071A843C}"/>
              </a:ext>
            </a:extLst>
          </p:cNvPr>
          <p:cNvSpPr/>
          <p:nvPr/>
        </p:nvSpPr>
        <p:spPr>
          <a:xfrm>
            <a:off x="-609600" y="2189339"/>
            <a:ext cx="228600" cy="228600"/>
          </a:xfrm>
          <a:prstGeom prst="rect">
            <a:avLst/>
          </a:prstGeom>
          <a:solidFill>
            <a:srgbClr val="FFC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0">
            <a:extLst>
              <a:ext uri="{FF2B5EF4-FFF2-40B4-BE49-F238E27FC236}">
                <a16:creationId xmlns:a16="http://schemas.microsoft.com/office/drawing/2014/main" id="{B8F20377-2121-4A02-A678-886BBFE50AA4}"/>
              </a:ext>
            </a:extLst>
          </p:cNvPr>
          <p:cNvSpPr/>
          <p:nvPr/>
        </p:nvSpPr>
        <p:spPr>
          <a:xfrm>
            <a:off x="-609600" y="2528359"/>
            <a:ext cx="228600" cy="228600"/>
          </a:xfrm>
          <a:prstGeom prst="rect">
            <a:avLst/>
          </a:prstGeom>
          <a:solidFill>
            <a:srgbClr val="76C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1">
            <a:extLst>
              <a:ext uri="{FF2B5EF4-FFF2-40B4-BE49-F238E27FC236}">
                <a16:creationId xmlns:a16="http://schemas.microsoft.com/office/drawing/2014/main" id="{5B4CC5B1-C47C-1D9F-D43E-C991C8ADBF9B}"/>
              </a:ext>
            </a:extLst>
          </p:cNvPr>
          <p:cNvSpPr/>
          <p:nvPr/>
        </p:nvSpPr>
        <p:spPr>
          <a:xfrm>
            <a:off x="-609600" y="2867379"/>
            <a:ext cx="228600" cy="228600"/>
          </a:xfrm>
          <a:prstGeom prst="rect">
            <a:avLst/>
          </a:prstGeom>
          <a:solidFill>
            <a:srgbClr val="F475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962DA16D-5938-A5A4-B5E1-DC364423B477}"/>
              </a:ext>
            </a:extLst>
          </p:cNvPr>
          <p:cNvSpPr/>
          <p:nvPr/>
        </p:nvSpPr>
        <p:spPr>
          <a:xfrm>
            <a:off x="-609600" y="3206399"/>
            <a:ext cx="228600" cy="228600"/>
          </a:xfrm>
          <a:prstGeom prst="rect">
            <a:avLst/>
          </a:prstGeom>
          <a:solidFill>
            <a:srgbClr val="EE3B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13">
            <a:extLst>
              <a:ext uri="{FF2B5EF4-FFF2-40B4-BE49-F238E27FC236}">
                <a16:creationId xmlns:a16="http://schemas.microsoft.com/office/drawing/2014/main" id="{6A887486-C242-5959-2687-92329621109A}"/>
              </a:ext>
            </a:extLst>
          </p:cNvPr>
          <p:cNvSpPr/>
          <p:nvPr/>
        </p:nvSpPr>
        <p:spPr>
          <a:xfrm>
            <a:off x="-609600" y="3545417"/>
            <a:ext cx="228600" cy="228600"/>
          </a:xfrm>
          <a:prstGeom prst="rect">
            <a:avLst/>
          </a:prstGeom>
          <a:solidFill>
            <a:srgbClr val="3F3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Connecteur droit 10">
            <a:extLst>
              <a:ext uri="{FF2B5EF4-FFF2-40B4-BE49-F238E27FC236}">
                <a16:creationId xmlns:a16="http://schemas.microsoft.com/office/drawing/2014/main" id="{085D88DE-6C68-BE31-38B6-BD059DE2F8D2}"/>
              </a:ext>
            </a:extLst>
          </p:cNvPr>
          <p:cNvCxnSpPr/>
          <p:nvPr/>
        </p:nvCxnSpPr>
        <p:spPr>
          <a:xfrm>
            <a:off x="0" y="682925"/>
            <a:ext cx="7090913" cy="0"/>
          </a:xfrm>
          <a:prstGeom prst="line">
            <a:avLst/>
          </a:prstGeom>
          <a:ln w="12700">
            <a:solidFill>
              <a:srgbClr val="78B9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>
            <a:extLst>
              <a:ext uri="{FF2B5EF4-FFF2-40B4-BE49-F238E27FC236}">
                <a16:creationId xmlns:a16="http://schemas.microsoft.com/office/drawing/2014/main" id="{50C38CEC-5FF3-19D9-EC99-B26EFF940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550" y="174390"/>
            <a:ext cx="9291223" cy="384721"/>
          </a:xfrm>
        </p:spPr>
        <p:txBody>
          <a:bodyPr/>
          <a:lstStyle/>
          <a:p>
            <a:r>
              <a:rPr lang="en-GB" dirty="0"/>
              <a:t>Path to Digital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2761846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AF02A1A-BCDD-4154-AE29-4FCEFB66C0A3}"/>
              </a:ext>
            </a:extLst>
          </p:cNvPr>
          <p:cNvSpPr/>
          <p:nvPr/>
        </p:nvSpPr>
        <p:spPr>
          <a:xfrm>
            <a:off x="4144680" y="1748137"/>
            <a:ext cx="1889223" cy="1889222"/>
          </a:xfrm>
          <a:custGeom>
            <a:avLst/>
            <a:gdLst>
              <a:gd name="connsiteX0" fmla="*/ 2012796 w 2012796"/>
              <a:gd name="connsiteY0" fmla="*/ 0 h 2012795"/>
              <a:gd name="connsiteX1" fmla="*/ 2012796 w 2012796"/>
              <a:gd name="connsiteY1" fmla="*/ 2012795 h 2012795"/>
              <a:gd name="connsiteX2" fmla="*/ 0 w 2012796"/>
              <a:gd name="connsiteY2" fmla="*/ 2012795 h 2012795"/>
              <a:gd name="connsiteX3" fmla="*/ 9362 w 2012796"/>
              <a:gd name="connsiteY3" fmla="*/ 1827403 h 2012795"/>
              <a:gd name="connsiteX4" fmla="*/ 1827403 w 2012796"/>
              <a:gd name="connsiteY4" fmla="*/ 9362 h 2012795"/>
              <a:gd name="connsiteX5" fmla="*/ 2012796 w 2012796"/>
              <a:gd name="connsiteY5" fmla="*/ 0 h 201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2796" h="2012795">
                <a:moveTo>
                  <a:pt x="2012796" y="0"/>
                </a:moveTo>
                <a:lnTo>
                  <a:pt x="2012796" y="2012795"/>
                </a:lnTo>
                <a:lnTo>
                  <a:pt x="0" y="2012795"/>
                </a:lnTo>
                <a:lnTo>
                  <a:pt x="9362" y="1827403"/>
                </a:lnTo>
                <a:cubicBezTo>
                  <a:pt x="106713" y="868801"/>
                  <a:pt x="868801" y="106713"/>
                  <a:pt x="1827403" y="9362"/>
                </a:cubicBezTo>
                <a:lnTo>
                  <a:pt x="2012796" y="0"/>
                </a:lnTo>
                <a:close/>
              </a:path>
            </a:pathLst>
          </a:custGeom>
          <a:solidFill>
            <a:srgbClr val="78B9E7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001ED95-6986-4D57-BE45-58CD9530AC97}"/>
              </a:ext>
            </a:extLst>
          </p:cNvPr>
          <p:cNvSpPr/>
          <p:nvPr/>
        </p:nvSpPr>
        <p:spPr>
          <a:xfrm>
            <a:off x="6076818" y="1748137"/>
            <a:ext cx="1889222" cy="1889222"/>
          </a:xfrm>
          <a:custGeom>
            <a:avLst/>
            <a:gdLst>
              <a:gd name="connsiteX0" fmla="*/ 0 w 2012795"/>
              <a:gd name="connsiteY0" fmla="*/ 0 h 2012795"/>
              <a:gd name="connsiteX1" fmla="*/ 185392 w 2012795"/>
              <a:gd name="connsiteY1" fmla="*/ 9362 h 2012795"/>
              <a:gd name="connsiteX2" fmla="*/ 1417382 w 2012795"/>
              <a:gd name="connsiteY2" fmla="*/ 595414 h 2012795"/>
              <a:gd name="connsiteX3" fmla="*/ 1548841 w 2012795"/>
              <a:gd name="connsiteY3" fmla="*/ 740055 h 2012795"/>
              <a:gd name="connsiteX4" fmla="*/ 1853887 w 2012795"/>
              <a:gd name="connsiteY4" fmla="*/ 1242837 h 2012795"/>
              <a:gd name="connsiteX5" fmla="*/ 2003433 w 2012795"/>
              <a:gd name="connsiteY5" fmla="*/ 1827403 h 2012795"/>
              <a:gd name="connsiteX6" fmla="*/ 2012795 w 2012795"/>
              <a:gd name="connsiteY6" fmla="*/ 2012795 h 2012795"/>
              <a:gd name="connsiteX7" fmla="*/ 0 w 2012795"/>
              <a:gd name="connsiteY7" fmla="*/ 2012795 h 2012795"/>
              <a:gd name="connsiteX8" fmla="*/ 0 w 2012795"/>
              <a:gd name="connsiteY8" fmla="*/ 0 h 201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2795" h="2012795">
                <a:moveTo>
                  <a:pt x="0" y="0"/>
                </a:moveTo>
                <a:lnTo>
                  <a:pt x="185392" y="9362"/>
                </a:lnTo>
                <a:cubicBezTo>
                  <a:pt x="664694" y="58038"/>
                  <a:pt x="1094866" y="272898"/>
                  <a:pt x="1417382" y="595414"/>
                </a:cubicBezTo>
                <a:cubicBezTo>
                  <a:pt x="1463455" y="641487"/>
                  <a:pt x="1507332" y="689758"/>
                  <a:pt x="1548841" y="740055"/>
                </a:cubicBezTo>
                <a:cubicBezTo>
                  <a:pt x="1673368" y="890947"/>
                  <a:pt x="1776586" y="1060077"/>
                  <a:pt x="1853887" y="1242837"/>
                </a:cubicBezTo>
                <a:cubicBezTo>
                  <a:pt x="1931188" y="1425598"/>
                  <a:pt x="1982573" y="1621989"/>
                  <a:pt x="2003433" y="1827403"/>
                </a:cubicBezTo>
                <a:lnTo>
                  <a:pt x="2012795" y="2012795"/>
                </a:lnTo>
                <a:lnTo>
                  <a:pt x="0" y="2012795"/>
                </a:lnTo>
                <a:lnTo>
                  <a:pt x="0" y="0"/>
                </a:lnTo>
                <a:close/>
              </a:path>
            </a:pathLst>
          </a:custGeom>
          <a:solidFill>
            <a:srgbClr val="76C043"/>
          </a:solidFill>
          <a:ln>
            <a:solidFill>
              <a:srgbClr val="76C043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0002463-94FB-458A-A5EB-687A82CB7C1B}"/>
              </a:ext>
            </a:extLst>
          </p:cNvPr>
          <p:cNvSpPr/>
          <p:nvPr/>
        </p:nvSpPr>
        <p:spPr>
          <a:xfrm>
            <a:off x="4144680" y="3680270"/>
            <a:ext cx="1889223" cy="1889223"/>
          </a:xfrm>
          <a:custGeom>
            <a:avLst/>
            <a:gdLst>
              <a:gd name="connsiteX0" fmla="*/ 0 w 2012796"/>
              <a:gd name="connsiteY0" fmla="*/ 0 h 2012796"/>
              <a:gd name="connsiteX1" fmla="*/ 2012796 w 2012796"/>
              <a:gd name="connsiteY1" fmla="*/ 0 h 2012796"/>
              <a:gd name="connsiteX2" fmla="*/ 2012796 w 2012796"/>
              <a:gd name="connsiteY2" fmla="*/ 2012796 h 2012796"/>
              <a:gd name="connsiteX3" fmla="*/ 1827403 w 2012796"/>
              <a:gd name="connsiteY3" fmla="*/ 2003434 h 2012796"/>
              <a:gd name="connsiteX4" fmla="*/ 1242837 w 2012796"/>
              <a:gd name="connsiteY4" fmla="*/ 1853888 h 2012796"/>
              <a:gd name="connsiteX5" fmla="*/ 740055 w 2012796"/>
              <a:gd name="connsiteY5" fmla="*/ 1548842 h 2012796"/>
              <a:gd name="connsiteX6" fmla="*/ 595414 w 2012796"/>
              <a:gd name="connsiteY6" fmla="*/ 1417383 h 2012796"/>
              <a:gd name="connsiteX7" fmla="*/ 9362 w 2012796"/>
              <a:gd name="connsiteY7" fmla="*/ 185393 h 2012796"/>
              <a:gd name="connsiteX8" fmla="*/ 0 w 2012796"/>
              <a:gd name="connsiteY8" fmla="*/ 0 h 20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2796" h="2012796">
                <a:moveTo>
                  <a:pt x="0" y="0"/>
                </a:moveTo>
                <a:lnTo>
                  <a:pt x="2012796" y="0"/>
                </a:lnTo>
                <a:lnTo>
                  <a:pt x="2012796" y="2012796"/>
                </a:lnTo>
                <a:lnTo>
                  <a:pt x="1827403" y="2003434"/>
                </a:lnTo>
                <a:cubicBezTo>
                  <a:pt x="1621989" y="1982574"/>
                  <a:pt x="1425598" y="1931189"/>
                  <a:pt x="1242837" y="1853888"/>
                </a:cubicBezTo>
                <a:cubicBezTo>
                  <a:pt x="1060077" y="1776587"/>
                  <a:pt x="890947" y="1673369"/>
                  <a:pt x="740055" y="1548842"/>
                </a:cubicBezTo>
                <a:cubicBezTo>
                  <a:pt x="689758" y="1507333"/>
                  <a:pt x="641487" y="1463456"/>
                  <a:pt x="595414" y="1417383"/>
                </a:cubicBezTo>
                <a:cubicBezTo>
                  <a:pt x="272898" y="1094867"/>
                  <a:pt x="58038" y="664695"/>
                  <a:pt x="9362" y="185393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2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CEA8475-23D3-4C3D-B968-465DF7F66BE1}"/>
              </a:ext>
            </a:extLst>
          </p:cNvPr>
          <p:cNvSpPr/>
          <p:nvPr/>
        </p:nvSpPr>
        <p:spPr>
          <a:xfrm>
            <a:off x="6076818" y="3680270"/>
            <a:ext cx="1889222" cy="1889223"/>
          </a:xfrm>
          <a:custGeom>
            <a:avLst/>
            <a:gdLst>
              <a:gd name="connsiteX0" fmla="*/ 0 w 2012795"/>
              <a:gd name="connsiteY0" fmla="*/ 0 h 2012796"/>
              <a:gd name="connsiteX1" fmla="*/ 2012795 w 2012795"/>
              <a:gd name="connsiteY1" fmla="*/ 0 h 2012796"/>
              <a:gd name="connsiteX2" fmla="*/ 2003433 w 2012795"/>
              <a:gd name="connsiteY2" fmla="*/ 185393 h 2012796"/>
              <a:gd name="connsiteX3" fmla="*/ 185392 w 2012795"/>
              <a:gd name="connsiteY3" fmla="*/ 2003434 h 2012796"/>
              <a:gd name="connsiteX4" fmla="*/ 0 w 2012795"/>
              <a:gd name="connsiteY4" fmla="*/ 2012796 h 2012796"/>
              <a:gd name="connsiteX5" fmla="*/ 0 w 2012795"/>
              <a:gd name="connsiteY5" fmla="*/ 0 h 20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2795" h="2012796">
                <a:moveTo>
                  <a:pt x="0" y="0"/>
                </a:moveTo>
                <a:lnTo>
                  <a:pt x="2012795" y="0"/>
                </a:lnTo>
                <a:lnTo>
                  <a:pt x="2003433" y="185393"/>
                </a:lnTo>
                <a:cubicBezTo>
                  <a:pt x="1906082" y="1143995"/>
                  <a:pt x="1143994" y="1906083"/>
                  <a:pt x="185392" y="2003434"/>
                </a:cubicBezTo>
                <a:lnTo>
                  <a:pt x="0" y="20127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AB9688-ADEC-4160-B90E-CCBB1A19D3FE}"/>
              </a:ext>
            </a:extLst>
          </p:cNvPr>
          <p:cNvSpPr txBox="1"/>
          <p:nvPr/>
        </p:nvSpPr>
        <p:spPr>
          <a:xfrm>
            <a:off x="929514" y="1726655"/>
            <a:ext cx="3314079" cy="1569660"/>
          </a:xfrm>
          <a:prstGeom prst="rect">
            <a:avLst/>
          </a:prstGeom>
          <a:noFill/>
        </p:spPr>
        <p:txBody>
          <a:bodyPr wrap="square" lIns="68580" rIns="68580" rtlCol="0" anchor="t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Procurement thinking that old school controls are relevant and needed in Digital tools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Legacy control requirements take away from “self-service benefits”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D4B0B1-053F-4EE7-92AD-9C13E13653CF}"/>
              </a:ext>
            </a:extLst>
          </p:cNvPr>
          <p:cNvSpPr/>
          <p:nvPr/>
        </p:nvSpPr>
        <p:spPr>
          <a:xfrm>
            <a:off x="985945" y="967383"/>
            <a:ext cx="3267452" cy="485229"/>
          </a:xfrm>
          <a:prstGeom prst="rect">
            <a:avLst/>
          </a:prstGeom>
          <a:solidFill>
            <a:srgbClr val="78B9E7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68580" tIns="0" rIns="68580" bIns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prstClr val="white"/>
                </a:solidFill>
                <a:latin typeface="Bogle" panose="020B0503020203060203" pitchFamily="34" charset="0"/>
              </a:rPr>
              <a:t>Process &amp; Policy</a:t>
            </a:r>
            <a:endParaRPr kumimoji="0" lang="en-US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grpSp>
        <p:nvGrpSpPr>
          <p:cNvPr id="16" name="Graphic 89" descr="Users">
            <a:extLst>
              <a:ext uri="{FF2B5EF4-FFF2-40B4-BE49-F238E27FC236}">
                <a16:creationId xmlns:a16="http://schemas.microsoft.com/office/drawing/2014/main" id="{E8902193-FFAF-4E10-8828-1C2FDF80CD5A}"/>
              </a:ext>
            </a:extLst>
          </p:cNvPr>
          <p:cNvGrpSpPr/>
          <p:nvPr/>
        </p:nvGrpSpPr>
        <p:grpSpPr>
          <a:xfrm>
            <a:off x="4531488" y="4374490"/>
            <a:ext cx="515214" cy="397669"/>
            <a:chOff x="10537822" y="3107660"/>
            <a:chExt cx="548913" cy="423680"/>
          </a:xfrm>
          <a:solidFill>
            <a:schemeClr val="bg1"/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43E43D-90A5-42CC-9F5C-CE0D70CAFA45}"/>
                </a:ext>
              </a:extLst>
            </p:cNvPr>
            <p:cNvSpPr/>
            <p:nvPr/>
          </p:nvSpPr>
          <p:spPr>
            <a:xfrm>
              <a:off x="10597057" y="3107660"/>
              <a:ext cx="118471" cy="111889"/>
            </a:xfrm>
            <a:custGeom>
              <a:avLst/>
              <a:gdLst>
                <a:gd name="connsiteX0" fmla="*/ 118471 w 118470"/>
                <a:gd name="connsiteY0" fmla="*/ 59235 h 111888"/>
                <a:gd name="connsiteX1" fmla="*/ 59235 w 118470"/>
                <a:gd name="connsiteY1" fmla="*/ 118471 h 111888"/>
                <a:gd name="connsiteX2" fmla="*/ 0 w 118470"/>
                <a:gd name="connsiteY2" fmla="*/ 59235 h 111888"/>
                <a:gd name="connsiteX3" fmla="*/ 59235 w 118470"/>
                <a:gd name="connsiteY3" fmla="*/ 0 h 111888"/>
                <a:gd name="connsiteX4" fmla="*/ 118471 w 118470"/>
                <a:gd name="connsiteY4" fmla="*/ 59235 h 11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70" h="111888">
                  <a:moveTo>
                    <a:pt x="118471" y="59235"/>
                  </a:moveTo>
                  <a:cubicBezTo>
                    <a:pt x="118471" y="91950"/>
                    <a:pt x="91950" y="118471"/>
                    <a:pt x="59235" y="118471"/>
                  </a:cubicBezTo>
                  <a:cubicBezTo>
                    <a:pt x="26521" y="118471"/>
                    <a:pt x="0" y="91950"/>
                    <a:pt x="0" y="59235"/>
                  </a:cubicBezTo>
                  <a:cubicBezTo>
                    <a:pt x="0" y="26521"/>
                    <a:pt x="26521" y="0"/>
                    <a:pt x="59235" y="0"/>
                  </a:cubicBezTo>
                  <a:cubicBezTo>
                    <a:pt x="91950" y="0"/>
                    <a:pt x="118471" y="26521"/>
                    <a:pt x="118471" y="59235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F4132B8-D7D1-4CE0-AC3B-145666A90127}"/>
                </a:ext>
              </a:extLst>
            </p:cNvPr>
            <p:cNvSpPr/>
            <p:nvPr/>
          </p:nvSpPr>
          <p:spPr>
            <a:xfrm>
              <a:off x="10912979" y="3107660"/>
              <a:ext cx="118471" cy="111889"/>
            </a:xfrm>
            <a:custGeom>
              <a:avLst/>
              <a:gdLst>
                <a:gd name="connsiteX0" fmla="*/ 118471 w 118470"/>
                <a:gd name="connsiteY0" fmla="*/ 59235 h 111888"/>
                <a:gd name="connsiteX1" fmla="*/ 59235 w 118470"/>
                <a:gd name="connsiteY1" fmla="*/ 118471 h 111888"/>
                <a:gd name="connsiteX2" fmla="*/ 0 w 118470"/>
                <a:gd name="connsiteY2" fmla="*/ 59235 h 111888"/>
                <a:gd name="connsiteX3" fmla="*/ 59235 w 118470"/>
                <a:gd name="connsiteY3" fmla="*/ 0 h 111888"/>
                <a:gd name="connsiteX4" fmla="*/ 118471 w 118470"/>
                <a:gd name="connsiteY4" fmla="*/ 59235 h 11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70" h="111888">
                  <a:moveTo>
                    <a:pt x="118471" y="59235"/>
                  </a:moveTo>
                  <a:cubicBezTo>
                    <a:pt x="118471" y="91950"/>
                    <a:pt x="91950" y="118471"/>
                    <a:pt x="59235" y="118471"/>
                  </a:cubicBezTo>
                  <a:cubicBezTo>
                    <a:pt x="26521" y="118471"/>
                    <a:pt x="0" y="91950"/>
                    <a:pt x="0" y="59235"/>
                  </a:cubicBezTo>
                  <a:cubicBezTo>
                    <a:pt x="0" y="26521"/>
                    <a:pt x="26521" y="0"/>
                    <a:pt x="59235" y="0"/>
                  </a:cubicBezTo>
                  <a:cubicBezTo>
                    <a:pt x="91950" y="0"/>
                    <a:pt x="118471" y="26521"/>
                    <a:pt x="118471" y="59235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D5F1FF-EF14-42E5-8FD9-35C87217FA3C}"/>
                </a:ext>
              </a:extLst>
            </p:cNvPr>
            <p:cNvSpPr/>
            <p:nvPr/>
          </p:nvSpPr>
          <p:spPr>
            <a:xfrm flipV="1">
              <a:off x="10537822" y="3445959"/>
              <a:ext cx="394901" cy="85381"/>
            </a:xfrm>
            <a:custGeom>
              <a:avLst/>
              <a:gdLst>
                <a:gd name="connsiteX0" fmla="*/ 236941 w 236941"/>
                <a:gd name="connsiteY0" fmla="*/ 118471 h 111888"/>
                <a:gd name="connsiteX1" fmla="*/ 236941 w 236941"/>
                <a:gd name="connsiteY1" fmla="*/ 59235 h 111888"/>
                <a:gd name="connsiteX2" fmla="*/ 225094 w 236941"/>
                <a:gd name="connsiteY2" fmla="*/ 35541 h 111888"/>
                <a:gd name="connsiteX3" fmla="*/ 167175 w 236941"/>
                <a:gd name="connsiteY3" fmla="*/ 7898 h 111888"/>
                <a:gd name="connsiteX4" fmla="*/ 118471 w 236941"/>
                <a:gd name="connsiteY4" fmla="*/ 0 h 111888"/>
                <a:gd name="connsiteX5" fmla="*/ 69766 w 236941"/>
                <a:gd name="connsiteY5" fmla="*/ 7898 h 111888"/>
                <a:gd name="connsiteX6" fmla="*/ 11847 w 236941"/>
                <a:gd name="connsiteY6" fmla="*/ 35541 h 111888"/>
                <a:gd name="connsiteX7" fmla="*/ 0 w 236941"/>
                <a:gd name="connsiteY7" fmla="*/ 59235 h 111888"/>
                <a:gd name="connsiteX8" fmla="*/ 0 w 236941"/>
                <a:gd name="connsiteY8" fmla="*/ 118471 h 111888"/>
                <a:gd name="connsiteX9" fmla="*/ 236941 w 236941"/>
                <a:gd name="connsiteY9" fmla="*/ 118471 h 11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941" h="111888">
                  <a:moveTo>
                    <a:pt x="236941" y="118471"/>
                  </a:moveTo>
                  <a:lnTo>
                    <a:pt x="236941" y="59235"/>
                  </a:lnTo>
                  <a:cubicBezTo>
                    <a:pt x="236941" y="50021"/>
                    <a:pt x="232992" y="40807"/>
                    <a:pt x="225094" y="35541"/>
                  </a:cubicBezTo>
                  <a:cubicBezTo>
                    <a:pt x="209298" y="22378"/>
                    <a:pt x="188237" y="13163"/>
                    <a:pt x="167175" y="7898"/>
                  </a:cubicBezTo>
                  <a:cubicBezTo>
                    <a:pt x="152695" y="3949"/>
                    <a:pt x="135583" y="0"/>
                    <a:pt x="118471" y="0"/>
                  </a:cubicBezTo>
                  <a:cubicBezTo>
                    <a:pt x="102674" y="0"/>
                    <a:pt x="85562" y="2633"/>
                    <a:pt x="69766" y="7898"/>
                  </a:cubicBezTo>
                  <a:cubicBezTo>
                    <a:pt x="48705" y="13163"/>
                    <a:pt x="28959" y="23694"/>
                    <a:pt x="11847" y="35541"/>
                  </a:cubicBezTo>
                  <a:cubicBezTo>
                    <a:pt x="3949" y="42123"/>
                    <a:pt x="0" y="50021"/>
                    <a:pt x="0" y="59235"/>
                  </a:cubicBezTo>
                  <a:lnTo>
                    <a:pt x="0" y="118471"/>
                  </a:lnTo>
                  <a:lnTo>
                    <a:pt x="236941" y="118471"/>
                  </a:ln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88ADCCD-DC8A-4F70-A79C-269823B3A067}"/>
                </a:ext>
              </a:extLst>
            </p:cNvPr>
            <p:cNvSpPr/>
            <p:nvPr/>
          </p:nvSpPr>
          <p:spPr>
            <a:xfrm>
              <a:off x="10755018" y="3199804"/>
              <a:ext cx="118471" cy="118471"/>
            </a:xfrm>
            <a:custGeom>
              <a:avLst/>
              <a:gdLst>
                <a:gd name="connsiteX0" fmla="*/ 118471 w 118470"/>
                <a:gd name="connsiteY0" fmla="*/ 59235 h 118470"/>
                <a:gd name="connsiteX1" fmla="*/ 59235 w 118470"/>
                <a:gd name="connsiteY1" fmla="*/ 118471 h 118470"/>
                <a:gd name="connsiteX2" fmla="*/ 0 w 118470"/>
                <a:gd name="connsiteY2" fmla="*/ 59235 h 118470"/>
                <a:gd name="connsiteX3" fmla="*/ 59235 w 118470"/>
                <a:gd name="connsiteY3" fmla="*/ 0 h 118470"/>
                <a:gd name="connsiteX4" fmla="*/ 118471 w 118470"/>
                <a:gd name="connsiteY4" fmla="*/ 59235 h 11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70" h="118470">
                  <a:moveTo>
                    <a:pt x="118471" y="59235"/>
                  </a:moveTo>
                  <a:cubicBezTo>
                    <a:pt x="118471" y="91950"/>
                    <a:pt x="91950" y="118471"/>
                    <a:pt x="59235" y="118471"/>
                  </a:cubicBezTo>
                  <a:cubicBezTo>
                    <a:pt x="26521" y="118471"/>
                    <a:pt x="0" y="91950"/>
                    <a:pt x="0" y="59235"/>
                  </a:cubicBezTo>
                  <a:cubicBezTo>
                    <a:pt x="0" y="26521"/>
                    <a:pt x="26521" y="0"/>
                    <a:pt x="59235" y="0"/>
                  </a:cubicBezTo>
                  <a:cubicBezTo>
                    <a:pt x="91950" y="0"/>
                    <a:pt x="118471" y="26521"/>
                    <a:pt x="118471" y="59235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25E442B-3892-483A-B5DA-CAFB12C3BA7E}"/>
                </a:ext>
              </a:extLst>
            </p:cNvPr>
            <p:cNvSpPr/>
            <p:nvPr/>
          </p:nvSpPr>
          <p:spPr>
            <a:xfrm>
              <a:off x="10876121" y="3241927"/>
              <a:ext cx="210614" cy="118471"/>
            </a:xfrm>
            <a:custGeom>
              <a:avLst/>
              <a:gdLst>
                <a:gd name="connsiteX0" fmla="*/ 202716 w 210614"/>
                <a:gd name="connsiteY0" fmla="*/ 35541 h 118470"/>
                <a:gd name="connsiteX1" fmla="*/ 144797 w 210614"/>
                <a:gd name="connsiteY1" fmla="*/ 7898 h 118470"/>
                <a:gd name="connsiteX2" fmla="*/ 96093 w 210614"/>
                <a:gd name="connsiteY2" fmla="*/ 0 h 118470"/>
                <a:gd name="connsiteX3" fmla="*/ 47388 w 210614"/>
                <a:gd name="connsiteY3" fmla="*/ 7898 h 118470"/>
                <a:gd name="connsiteX4" fmla="*/ 23694 w 210614"/>
                <a:gd name="connsiteY4" fmla="*/ 17112 h 118470"/>
                <a:gd name="connsiteX5" fmla="*/ 23694 w 210614"/>
                <a:gd name="connsiteY5" fmla="*/ 18429 h 118470"/>
                <a:gd name="connsiteX6" fmla="*/ 0 w 210614"/>
                <a:gd name="connsiteY6" fmla="*/ 76348 h 118470"/>
                <a:gd name="connsiteX7" fmla="*/ 60552 w 210614"/>
                <a:gd name="connsiteY7" fmla="*/ 106624 h 118470"/>
                <a:gd name="connsiteX8" fmla="*/ 71082 w 210614"/>
                <a:gd name="connsiteY8" fmla="*/ 118471 h 118470"/>
                <a:gd name="connsiteX9" fmla="*/ 214563 w 210614"/>
                <a:gd name="connsiteY9" fmla="*/ 118471 h 118470"/>
                <a:gd name="connsiteX10" fmla="*/ 214563 w 210614"/>
                <a:gd name="connsiteY10" fmla="*/ 59235 h 118470"/>
                <a:gd name="connsiteX11" fmla="*/ 202716 w 210614"/>
                <a:gd name="connsiteY11" fmla="*/ 35541 h 11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614" h="118470">
                  <a:moveTo>
                    <a:pt x="202716" y="35541"/>
                  </a:moveTo>
                  <a:cubicBezTo>
                    <a:pt x="186920" y="22378"/>
                    <a:pt x="165859" y="13163"/>
                    <a:pt x="144797" y="7898"/>
                  </a:cubicBezTo>
                  <a:cubicBezTo>
                    <a:pt x="130318" y="3949"/>
                    <a:pt x="113205" y="0"/>
                    <a:pt x="96093" y="0"/>
                  </a:cubicBezTo>
                  <a:cubicBezTo>
                    <a:pt x="80297" y="0"/>
                    <a:pt x="63184" y="2633"/>
                    <a:pt x="47388" y="7898"/>
                  </a:cubicBezTo>
                  <a:cubicBezTo>
                    <a:pt x="39490" y="10531"/>
                    <a:pt x="31592" y="13163"/>
                    <a:pt x="23694" y="17112"/>
                  </a:cubicBezTo>
                  <a:lnTo>
                    <a:pt x="23694" y="18429"/>
                  </a:lnTo>
                  <a:cubicBezTo>
                    <a:pt x="23694" y="40807"/>
                    <a:pt x="14480" y="61868"/>
                    <a:pt x="0" y="76348"/>
                  </a:cubicBezTo>
                  <a:cubicBezTo>
                    <a:pt x="25010" y="84246"/>
                    <a:pt x="44756" y="94776"/>
                    <a:pt x="60552" y="106624"/>
                  </a:cubicBezTo>
                  <a:cubicBezTo>
                    <a:pt x="64501" y="110573"/>
                    <a:pt x="68450" y="113205"/>
                    <a:pt x="71082" y="118471"/>
                  </a:cubicBezTo>
                  <a:lnTo>
                    <a:pt x="214563" y="118471"/>
                  </a:lnTo>
                  <a:lnTo>
                    <a:pt x="214563" y="59235"/>
                  </a:lnTo>
                  <a:cubicBezTo>
                    <a:pt x="214563" y="50021"/>
                    <a:pt x="210614" y="40807"/>
                    <a:pt x="202716" y="35541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2C6167C-ECD0-49E6-9FFE-FA0879F9751B}"/>
                </a:ext>
              </a:extLst>
            </p:cNvPr>
            <p:cNvSpPr/>
            <p:nvPr/>
          </p:nvSpPr>
          <p:spPr>
            <a:xfrm>
              <a:off x="10537822" y="3241927"/>
              <a:ext cx="210614" cy="118471"/>
            </a:xfrm>
            <a:custGeom>
              <a:avLst/>
              <a:gdLst>
                <a:gd name="connsiteX0" fmla="*/ 154012 w 210614"/>
                <a:gd name="connsiteY0" fmla="*/ 106624 h 118470"/>
                <a:gd name="connsiteX1" fmla="*/ 154012 w 210614"/>
                <a:gd name="connsiteY1" fmla="*/ 106624 h 118470"/>
                <a:gd name="connsiteX2" fmla="*/ 214563 w 210614"/>
                <a:gd name="connsiteY2" fmla="*/ 76348 h 118470"/>
                <a:gd name="connsiteX3" fmla="*/ 190869 w 210614"/>
                <a:gd name="connsiteY3" fmla="*/ 18429 h 118470"/>
                <a:gd name="connsiteX4" fmla="*/ 190869 w 210614"/>
                <a:gd name="connsiteY4" fmla="*/ 15796 h 118470"/>
                <a:gd name="connsiteX5" fmla="*/ 167175 w 210614"/>
                <a:gd name="connsiteY5" fmla="*/ 7898 h 118470"/>
                <a:gd name="connsiteX6" fmla="*/ 118471 w 210614"/>
                <a:gd name="connsiteY6" fmla="*/ 0 h 118470"/>
                <a:gd name="connsiteX7" fmla="*/ 69766 w 210614"/>
                <a:gd name="connsiteY7" fmla="*/ 7898 h 118470"/>
                <a:gd name="connsiteX8" fmla="*/ 11847 w 210614"/>
                <a:gd name="connsiteY8" fmla="*/ 35541 h 118470"/>
                <a:gd name="connsiteX9" fmla="*/ 0 w 210614"/>
                <a:gd name="connsiteY9" fmla="*/ 59235 h 118470"/>
                <a:gd name="connsiteX10" fmla="*/ 0 w 210614"/>
                <a:gd name="connsiteY10" fmla="*/ 118471 h 118470"/>
                <a:gd name="connsiteX11" fmla="*/ 142165 w 210614"/>
                <a:gd name="connsiteY11" fmla="*/ 118471 h 118470"/>
                <a:gd name="connsiteX12" fmla="*/ 154012 w 210614"/>
                <a:gd name="connsiteY12" fmla="*/ 106624 h 11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614" h="118470">
                  <a:moveTo>
                    <a:pt x="154012" y="106624"/>
                  </a:moveTo>
                  <a:lnTo>
                    <a:pt x="154012" y="106624"/>
                  </a:lnTo>
                  <a:cubicBezTo>
                    <a:pt x="172440" y="93460"/>
                    <a:pt x="193502" y="82929"/>
                    <a:pt x="214563" y="76348"/>
                  </a:cubicBezTo>
                  <a:cubicBezTo>
                    <a:pt x="200084" y="60552"/>
                    <a:pt x="190869" y="40807"/>
                    <a:pt x="190869" y="18429"/>
                  </a:cubicBezTo>
                  <a:cubicBezTo>
                    <a:pt x="190869" y="17112"/>
                    <a:pt x="190869" y="17112"/>
                    <a:pt x="190869" y="15796"/>
                  </a:cubicBezTo>
                  <a:cubicBezTo>
                    <a:pt x="182971" y="13163"/>
                    <a:pt x="175073" y="9214"/>
                    <a:pt x="167175" y="7898"/>
                  </a:cubicBezTo>
                  <a:cubicBezTo>
                    <a:pt x="152695" y="3949"/>
                    <a:pt x="135583" y="0"/>
                    <a:pt x="118471" y="0"/>
                  </a:cubicBezTo>
                  <a:cubicBezTo>
                    <a:pt x="102674" y="0"/>
                    <a:pt x="85562" y="2633"/>
                    <a:pt x="69766" y="7898"/>
                  </a:cubicBezTo>
                  <a:cubicBezTo>
                    <a:pt x="48705" y="14480"/>
                    <a:pt x="28959" y="23694"/>
                    <a:pt x="11847" y="35541"/>
                  </a:cubicBezTo>
                  <a:cubicBezTo>
                    <a:pt x="3949" y="40807"/>
                    <a:pt x="0" y="50021"/>
                    <a:pt x="0" y="59235"/>
                  </a:cubicBezTo>
                  <a:lnTo>
                    <a:pt x="0" y="118471"/>
                  </a:lnTo>
                  <a:lnTo>
                    <a:pt x="142165" y="118471"/>
                  </a:lnTo>
                  <a:cubicBezTo>
                    <a:pt x="146114" y="113205"/>
                    <a:pt x="148746" y="110573"/>
                    <a:pt x="154012" y="106624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6EECCDA-3B21-4D56-84A6-8961F71922F0}"/>
              </a:ext>
            </a:extLst>
          </p:cNvPr>
          <p:cNvSpPr txBox="1"/>
          <p:nvPr/>
        </p:nvSpPr>
        <p:spPr>
          <a:xfrm>
            <a:off x="8034832" y="3755359"/>
            <a:ext cx="3180356" cy="2062103"/>
          </a:xfrm>
          <a:prstGeom prst="rect">
            <a:avLst/>
          </a:prstGeom>
          <a:noFill/>
        </p:spPr>
        <p:txBody>
          <a:bodyPr wrap="square" lIns="68580" rIns="68580" rtlCol="0" anchor="b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Most try to keep same op model after implementing digital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Remain mired in historic philosophies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Lack of end-to-end ownership and siloes between upstream and downstrea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16B3BC-D8B1-44CD-ACF7-6F8F208F7C02}"/>
              </a:ext>
            </a:extLst>
          </p:cNvPr>
          <p:cNvSpPr/>
          <p:nvPr/>
        </p:nvSpPr>
        <p:spPr>
          <a:xfrm>
            <a:off x="7980396" y="5831774"/>
            <a:ext cx="2880643" cy="458146"/>
          </a:xfrm>
          <a:prstGeom prst="rect">
            <a:avLst/>
          </a:prstGeom>
          <a:solidFill>
            <a:schemeClr val="accent6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68580" tIns="0" rIns="6858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prstClr val="white"/>
                </a:solidFill>
                <a:latin typeface="Bogle" panose="020B0503020203060203" pitchFamily="34" charset="0"/>
              </a:rPr>
              <a:t>Operating Model</a:t>
            </a:r>
            <a:endParaRPr kumimoji="0" lang="en-US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23" name="Graphic 90" descr="Puzzle">
            <a:extLst>
              <a:ext uri="{FF2B5EF4-FFF2-40B4-BE49-F238E27FC236}">
                <a16:creationId xmlns:a16="http://schemas.microsoft.com/office/drawing/2014/main" id="{1A553E8E-02FC-4CB2-BC3A-DADFB3ED08FB}"/>
              </a:ext>
            </a:extLst>
          </p:cNvPr>
          <p:cNvSpPr/>
          <p:nvPr/>
        </p:nvSpPr>
        <p:spPr>
          <a:xfrm>
            <a:off x="7065417" y="4377777"/>
            <a:ext cx="494210" cy="494210"/>
          </a:xfrm>
          <a:custGeom>
            <a:avLst/>
            <a:gdLst>
              <a:gd name="connsiteX0" fmla="*/ 340274 w 526535"/>
              <a:gd name="connsiteY0" fmla="*/ 399509 h 526535"/>
              <a:gd name="connsiteX1" fmla="*/ 311973 w 526535"/>
              <a:gd name="connsiteY1" fmla="*/ 312631 h 526535"/>
              <a:gd name="connsiteX2" fmla="*/ 316580 w 526535"/>
              <a:gd name="connsiteY2" fmla="*/ 308023 h 526535"/>
              <a:gd name="connsiteX3" fmla="*/ 404774 w 526535"/>
              <a:gd name="connsiteY3" fmla="*/ 335008 h 526535"/>
              <a:gd name="connsiteX4" fmla="*/ 451504 w 526535"/>
              <a:gd name="connsiteY4" fmla="*/ 372524 h 526535"/>
              <a:gd name="connsiteX5" fmla="*/ 526536 w 526535"/>
              <a:gd name="connsiteY5" fmla="*/ 297493 h 526535"/>
              <a:gd name="connsiteX6" fmla="*/ 414647 w 526535"/>
              <a:gd name="connsiteY6" fmla="*/ 185604 h 526535"/>
              <a:gd name="connsiteX7" fmla="*/ 452163 w 526535"/>
              <a:gd name="connsiteY7" fmla="*/ 138874 h 526535"/>
              <a:gd name="connsiteX8" fmla="*/ 479148 w 526535"/>
              <a:gd name="connsiteY8" fmla="*/ 50679 h 526535"/>
              <a:gd name="connsiteX9" fmla="*/ 474540 w 526535"/>
              <a:gd name="connsiteY9" fmla="*/ 46072 h 526535"/>
              <a:gd name="connsiteX10" fmla="*/ 387662 w 526535"/>
              <a:gd name="connsiteY10" fmla="*/ 74373 h 526535"/>
              <a:gd name="connsiteX11" fmla="*/ 340932 w 526535"/>
              <a:gd name="connsiteY11" fmla="*/ 111889 h 526535"/>
              <a:gd name="connsiteX12" fmla="*/ 229043 w 526535"/>
              <a:gd name="connsiteY12" fmla="*/ 0 h 526535"/>
              <a:gd name="connsiteX13" fmla="*/ 153354 w 526535"/>
              <a:gd name="connsiteY13" fmla="*/ 75031 h 526535"/>
              <a:gd name="connsiteX14" fmla="*/ 190869 w 526535"/>
              <a:gd name="connsiteY14" fmla="*/ 121761 h 526535"/>
              <a:gd name="connsiteX15" fmla="*/ 219171 w 526535"/>
              <a:gd name="connsiteY15" fmla="*/ 208640 h 526535"/>
              <a:gd name="connsiteX16" fmla="*/ 214563 w 526535"/>
              <a:gd name="connsiteY16" fmla="*/ 213247 h 526535"/>
              <a:gd name="connsiteX17" fmla="*/ 126369 w 526535"/>
              <a:gd name="connsiteY17" fmla="*/ 186262 h 526535"/>
              <a:gd name="connsiteX18" fmla="*/ 79639 w 526535"/>
              <a:gd name="connsiteY18" fmla="*/ 148746 h 526535"/>
              <a:gd name="connsiteX19" fmla="*/ 0 w 526535"/>
              <a:gd name="connsiteY19" fmla="*/ 229043 h 526535"/>
              <a:gd name="connsiteX20" fmla="*/ 111889 w 526535"/>
              <a:gd name="connsiteY20" fmla="*/ 340932 h 526535"/>
              <a:gd name="connsiteX21" fmla="*/ 74373 w 526535"/>
              <a:gd name="connsiteY21" fmla="*/ 387662 h 526535"/>
              <a:gd name="connsiteX22" fmla="*/ 47388 w 526535"/>
              <a:gd name="connsiteY22" fmla="*/ 475857 h 526535"/>
              <a:gd name="connsiteX23" fmla="*/ 51995 w 526535"/>
              <a:gd name="connsiteY23" fmla="*/ 480464 h 526535"/>
              <a:gd name="connsiteX24" fmla="*/ 138874 w 526535"/>
              <a:gd name="connsiteY24" fmla="*/ 452163 h 526535"/>
              <a:gd name="connsiteX25" fmla="*/ 185604 w 526535"/>
              <a:gd name="connsiteY25" fmla="*/ 414647 h 526535"/>
              <a:gd name="connsiteX26" fmla="*/ 297493 w 526535"/>
              <a:gd name="connsiteY26" fmla="*/ 526536 h 526535"/>
              <a:gd name="connsiteX27" fmla="*/ 377789 w 526535"/>
              <a:gd name="connsiteY27" fmla="*/ 446239 h 526535"/>
              <a:gd name="connsiteX28" fmla="*/ 340274 w 526535"/>
              <a:gd name="connsiteY28" fmla="*/ 399509 h 526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26535" h="526535">
                <a:moveTo>
                  <a:pt x="340274" y="399509"/>
                </a:moveTo>
                <a:cubicBezTo>
                  <a:pt x="296835" y="400825"/>
                  <a:pt x="281039" y="344881"/>
                  <a:pt x="311973" y="312631"/>
                </a:cubicBezTo>
                <a:lnTo>
                  <a:pt x="316580" y="308023"/>
                </a:lnTo>
                <a:cubicBezTo>
                  <a:pt x="348830" y="277089"/>
                  <a:pt x="406091" y="291569"/>
                  <a:pt x="404774" y="335008"/>
                </a:cubicBezTo>
                <a:cubicBezTo>
                  <a:pt x="404116" y="360019"/>
                  <a:pt x="433734" y="390295"/>
                  <a:pt x="451504" y="372524"/>
                </a:cubicBezTo>
                <a:lnTo>
                  <a:pt x="526536" y="297493"/>
                </a:lnTo>
                <a:lnTo>
                  <a:pt x="414647" y="185604"/>
                </a:lnTo>
                <a:cubicBezTo>
                  <a:pt x="396876" y="167833"/>
                  <a:pt x="427152" y="138216"/>
                  <a:pt x="452163" y="138874"/>
                </a:cubicBezTo>
                <a:cubicBezTo>
                  <a:pt x="495602" y="140190"/>
                  <a:pt x="510082" y="82929"/>
                  <a:pt x="479148" y="50679"/>
                </a:cubicBezTo>
                <a:lnTo>
                  <a:pt x="474540" y="46072"/>
                </a:lnTo>
                <a:cubicBezTo>
                  <a:pt x="442290" y="15138"/>
                  <a:pt x="386346" y="30934"/>
                  <a:pt x="387662" y="74373"/>
                </a:cubicBezTo>
                <a:cubicBezTo>
                  <a:pt x="388320" y="99384"/>
                  <a:pt x="358703" y="129659"/>
                  <a:pt x="340932" y="111889"/>
                </a:cubicBezTo>
                <a:lnTo>
                  <a:pt x="229043" y="0"/>
                </a:lnTo>
                <a:lnTo>
                  <a:pt x="153354" y="75031"/>
                </a:lnTo>
                <a:cubicBezTo>
                  <a:pt x="135583" y="92802"/>
                  <a:pt x="165859" y="122420"/>
                  <a:pt x="190869" y="121761"/>
                </a:cubicBezTo>
                <a:cubicBezTo>
                  <a:pt x="234308" y="120445"/>
                  <a:pt x="250105" y="176390"/>
                  <a:pt x="219171" y="208640"/>
                </a:cubicBezTo>
                <a:lnTo>
                  <a:pt x="214563" y="213247"/>
                </a:lnTo>
                <a:cubicBezTo>
                  <a:pt x="182313" y="244181"/>
                  <a:pt x="125052" y="229701"/>
                  <a:pt x="126369" y="186262"/>
                </a:cubicBezTo>
                <a:cubicBezTo>
                  <a:pt x="127027" y="161252"/>
                  <a:pt x="97409" y="130976"/>
                  <a:pt x="79639" y="148746"/>
                </a:cubicBezTo>
                <a:lnTo>
                  <a:pt x="0" y="229043"/>
                </a:lnTo>
                <a:lnTo>
                  <a:pt x="111889" y="340932"/>
                </a:lnTo>
                <a:cubicBezTo>
                  <a:pt x="129659" y="358703"/>
                  <a:pt x="99384" y="388320"/>
                  <a:pt x="74373" y="387662"/>
                </a:cubicBezTo>
                <a:cubicBezTo>
                  <a:pt x="30934" y="386346"/>
                  <a:pt x="16454" y="443606"/>
                  <a:pt x="47388" y="475857"/>
                </a:cubicBezTo>
                <a:lnTo>
                  <a:pt x="51995" y="480464"/>
                </a:lnTo>
                <a:cubicBezTo>
                  <a:pt x="84246" y="511398"/>
                  <a:pt x="140190" y="495602"/>
                  <a:pt x="138874" y="452163"/>
                </a:cubicBezTo>
                <a:cubicBezTo>
                  <a:pt x="138216" y="427152"/>
                  <a:pt x="167833" y="396876"/>
                  <a:pt x="185604" y="414647"/>
                </a:cubicBezTo>
                <a:lnTo>
                  <a:pt x="297493" y="526536"/>
                </a:lnTo>
                <a:lnTo>
                  <a:pt x="377789" y="446239"/>
                </a:lnTo>
                <a:cubicBezTo>
                  <a:pt x="395560" y="428469"/>
                  <a:pt x="365942" y="398851"/>
                  <a:pt x="340274" y="39950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548" cap="flat">
            <a:noFill/>
            <a:prstDash val="solid"/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4F60B3-4AE7-4D3F-A792-CBFD31EBEBF1}"/>
              </a:ext>
            </a:extLst>
          </p:cNvPr>
          <p:cNvSpPr txBox="1"/>
          <p:nvPr/>
        </p:nvSpPr>
        <p:spPr>
          <a:xfrm>
            <a:off x="7980396" y="1681779"/>
            <a:ext cx="3025710" cy="1077218"/>
          </a:xfrm>
          <a:prstGeom prst="rect">
            <a:avLst/>
          </a:prstGeom>
          <a:noFill/>
        </p:spPr>
        <p:txBody>
          <a:bodyPr wrap="square" lIns="68580" rIns="68580" rtlCol="0" anchor="b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Data quality: rubbish in is still rubbish out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Some of this rubbish data is now 25 years ol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7F1EA9-5EA3-493B-994A-D777221C2D3B}"/>
              </a:ext>
            </a:extLst>
          </p:cNvPr>
          <p:cNvSpPr/>
          <p:nvPr/>
        </p:nvSpPr>
        <p:spPr>
          <a:xfrm>
            <a:off x="8035220" y="964029"/>
            <a:ext cx="2825820" cy="458146"/>
          </a:xfrm>
          <a:prstGeom prst="rect">
            <a:avLst/>
          </a:prstGeom>
          <a:solidFill>
            <a:srgbClr val="76C043"/>
          </a:solidFill>
          <a:ln>
            <a:solidFill>
              <a:srgbClr val="76C043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68580" tIns="0" rIns="6858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rPr>
              <a:t>Data</a:t>
            </a:r>
          </a:p>
        </p:txBody>
      </p:sp>
      <p:grpSp>
        <p:nvGrpSpPr>
          <p:cNvPr id="24" name="Graphic 91" descr="Lightbulb">
            <a:extLst>
              <a:ext uri="{FF2B5EF4-FFF2-40B4-BE49-F238E27FC236}">
                <a16:creationId xmlns:a16="http://schemas.microsoft.com/office/drawing/2014/main" id="{D6F852CE-168A-488B-9C42-A97CB83E99C1}"/>
              </a:ext>
            </a:extLst>
          </p:cNvPr>
          <p:cNvGrpSpPr/>
          <p:nvPr/>
        </p:nvGrpSpPr>
        <p:grpSpPr>
          <a:xfrm>
            <a:off x="6970193" y="2380300"/>
            <a:ext cx="593052" cy="593052"/>
            <a:chOff x="1329562" y="5367429"/>
            <a:chExt cx="631843" cy="631843"/>
          </a:xfrm>
          <a:solidFill>
            <a:srgbClr val="FFFFFF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010E93-A666-447F-BD7D-A29808473361}"/>
                </a:ext>
              </a:extLst>
            </p:cNvPr>
            <p:cNvSpPr/>
            <p:nvPr/>
          </p:nvSpPr>
          <p:spPr>
            <a:xfrm>
              <a:off x="1559921" y="5788658"/>
              <a:ext cx="171124" cy="39490"/>
            </a:xfrm>
            <a:custGeom>
              <a:avLst/>
              <a:gdLst>
                <a:gd name="connsiteX0" fmla="*/ 19745 w 171124"/>
                <a:gd name="connsiteY0" fmla="*/ 0 h 39490"/>
                <a:gd name="connsiteX1" fmla="*/ 151379 w 171124"/>
                <a:gd name="connsiteY1" fmla="*/ 0 h 39490"/>
                <a:gd name="connsiteX2" fmla="*/ 171124 w 171124"/>
                <a:gd name="connsiteY2" fmla="*/ 19745 h 39490"/>
                <a:gd name="connsiteX3" fmla="*/ 151379 w 171124"/>
                <a:gd name="connsiteY3" fmla="*/ 39490 h 39490"/>
                <a:gd name="connsiteX4" fmla="*/ 19745 w 171124"/>
                <a:gd name="connsiteY4" fmla="*/ 39490 h 39490"/>
                <a:gd name="connsiteX5" fmla="*/ 0 w 171124"/>
                <a:gd name="connsiteY5" fmla="*/ 19745 h 39490"/>
                <a:gd name="connsiteX6" fmla="*/ 19745 w 171124"/>
                <a:gd name="connsiteY6" fmla="*/ 0 h 3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124" h="39490">
                  <a:moveTo>
                    <a:pt x="19745" y="0"/>
                  </a:moveTo>
                  <a:lnTo>
                    <a:pt x="151379" y="0"/>
                  </a:lnTo>
                  <a:cubicBezTo>
                    <a:pt x="162568" y="0"/>
                    <a:pt x="171124" y="8556"/>
                    <a:pt x="171124" y="19745"/>
                  </a:cubicBezTo>
                  <a:cubicBezTo>
                    <a:pt x="171124" y="30934"/>
                    <a:pt x="162568" y="39490"/>
                    <a:pt x="151379" y="39490"/>
                  </a:cubicBezTo>
                  <a:lnTo>
                    <a:pt x="19745" y="39490"/>
                  </a:lnTo>
                  <a:cubicBezTo>
                    <a:pt x="8556" y="39490"/>
                    <a:pt x="0" y="30934"/>
                    <a:pt x="0" y="19745"/>
                  </a:cubicBezTo>
                  <a:cubicBezTo>
                    <a:pt x="0" y="8556"/>
                    <a:pt x="8556" y="0"/>
                    <a:pt x="19745" y="0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4419B1B-065A-4A34-96E8-30CF560456B8}"/>
                </a:ext>
              </a:extLst>
            </p:cNvPr>
            <p:cNvSpPr/>
            <p:nvPr/>
          </p:nvSpPr>
          <p:spPr>
            <a:xfrm>
              <a:off x="1559921" y="5854475"/>
              <a:ext cx="171124" cy="39490"/>
            </a:xfrm>
            <a:custGeom>
              <a:avLst/>
              <a:gdLst>
                <a:gd name="connsiteX0" fmla="*/ 19745 w 171124"/>
                <a:gd name="connsiteY0" fmla="*/ 0 h 39490"/>
                <a:gd name="connsiteX1" fmla="*/ 151379 w 171124"/>
                <a:gd name="connsiteY1" fmla="*/ 0 h 39490"/>
                <a:gd name="connsiteX2" fmla="*/ 171124 w 171124"/>
                <a:gd name="connsiteY2" fmla="*/ 19745 h 39490"/>
                <a:gd name="connsiteX3" fmla="*/ 151379 w 171124"/>
                <a:gd name="connsiteY3" fmla="*/ 39490 h 39490"/>
                <a:gd name="connsiteX4" fmla="*/ 19745 w 171124"/>
                <a:gd name="connsiteY4" fmla="*/ 39490 h 39490"/>
                <a:gd name="connsiteX5" fmla="*/ 0 w 171124"/>
                <a:gd name="connsiteY5" fmla="*/ 19745 h 39490"/>
                <a:gd name="connsiteX6" fmla="*/ 19745 w 171124"/>
                <a:gd name="connsiteY6" fmla="*/ 0 h 3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124" h="39490">
                  <a:moveTo>
                    <a:pt x="19745" y="0"/>
                  </a:moveTo>
                  <a:lnTo>
                    <a:pt x="151379" y="0"/>
                  </a:lnTo>
                  <a:cubicBezTo>
                    <a:pt x="162568" y="0"/>
                    <a:pt x="171124" y="8556"/>
                    <a:pt x="171124" y="19745"/>
                  </a:cubicBezTo>
                  <a:cubicBezTo>
                    <a:pt x="171124" y="30934"/>
                    <a:pt x="162568" y="39490"/>
                    <a:pt x="151379" y="39490"/>
                  </a:cubicBezTo>
                  <a:lnTo>
                    <a:pt x="19745" y="39490"/>
                  </a:lnTo>
                  <a:cubicBezTo>
                    <a:pt x="8556" y="39490"/>
                    <a:pt x="0" y="30934"/>
                    <a:pt x="0" y="19745"/>
                  </a:cubicBezTo>
                  <a:cubicBezTo>
                    <a:pt x="0" y="8556"/>
                    <a:pt x="8556" y="0"/>
                    <a:pt x="19745" y="0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5DF7CF1-692D-4D0A-93FB-F710073EDCB3}"/>
                </a:ext>
              </a:extLst>
            </p:cNvPr>
            <p:cNvSpPr/>
            <p:nvPr/>
          </p:nvSpPr>
          <p:spPr>
            <a:xfrm>
              <a:off x="1602702" y="5920292"/>
              <a:ext cx="85562" cy="39490"/>
            </a:xfrm>
            <a:custGeom>
              <a:avLst/>
              <a:gdLst>
                <a:gd name="connsiteX0" fmla="*/ 0 w 85562"/>
                <a:gd name="connsiteY0" fmla="*/ 0 h 39490"/>
                <a:gd name="connsiteX1" fmla="*/ 42781 w 85562"/>
                <a:gd name="connsiteY1" fmla="*/ 39490 h 39490"/>
                <a:gd name="connsiteX2" fmla="*/ 85562 w 85562"/>
                <a:gd name="connsiteY2" fmla="*/ 0 h 39490"/>
                <a:gd name="connsiteX3" fmla="*/ 0 w 85562"/>
                <a:gd name="connsiteY3" fmla="*/ 0 h 3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562" h="39490">
                  <a:moveTo>
                    <a:pt x="0" y="0"/>
                  </a:moveTo>
                  <a:cubicBezTo>
                    <a:pt x="1975" y="22378"/>
                    <a:pt x="20403" y="39490"/>
                    <a:pt x="42781" y="39490"/>
                  </a:cubicBezTo>
                  <a:cubicBezTo>
                    <a:pt x="65159" y="39490"/>
                    <a:pt x="83588" y="22378"/>
                    <a:pt x="85562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718C897-CA96-482B-AFF2-74498ED70E61}"/>
                </a:ext>
              </a:extLst>
            </p:cNvPr>
            <p:cNvSpPr/>
            <p:nvPr/>
          </p:nvSpPr>
          <p:spPr>
            <a:xfrm>
              <a:off x="1474359" y="5406919"/>
              <a:ext cx="342248" cy="355412"/>
            </a:xfrm>
            <a:custGeom>
              <a:avLst/>
              <a:gdLst>
                <a:gd name="connsiteX0" fmla="*/ 171124 w 342248"/>
                <a:gd name="connsiteY0" fmla="*/ 0 h 355411"/>
                <a:gd name="connsiteX1" fmla="*/ 171124 w 342248"/>
                <a:gd name="connsiteY1" fmla="*/ 0 h 355411"/>
                <a:gd name="connsiteX2" fmla="*/ 171124 w 342248"/>
                <a:gd name="connsiteY2" fmla="*/ 0 h 355411"/>
                <a:gd name="connsiteX3" fmla="*/ 0 w 342248"/>
                <a:gd name="connsiteY3" fmla="*/ 169150 h 355411"/>
                <a:gd name="connsiteX4" fmla="*/ 0 w 342248"/>
                <a:gd name="connsiteY4" fmla="*/ 175073 h 355411"/>
                <a:gd name="connsiteX5" fmla="*/ 11847 w 342248"/>
                <a:gd name="connsiteY5" fmla="*/ 234308 h 355411"/>
                <a:gd name="connsiteX6" fmla="*/ 41465 w 342248"/>
                <a:gd name="connsiteY6" fmla="*/ 283013 h 355411"/>
                <a:gd name="connsiteX7" fmla="*/ 81613 w 342248"/>
                <a:gd name="connsiteY7" fmla="*/ 348172 h 355411"/>
                <a:gd name="connsiteX8" fmla="*/ 93460 w 342248"/>
                <a:gd name="connsiteY8" fmla="*/ 355412 h 355411"/>
                <a:gd name="connsiteX9" fmla="*/ 248788 w 342248"/>
                <a:gd name="connsiteY9" fmla="*/ 355412 h 355411"/>
                <a:gd name="connsiteX10" fmla="*/ 260635 w 342248"/>
                <a:gd name="connsiteY10" fmla="*/ 348172 h 355411"/>
                <a:gd name="connsiteX11" fmla="*/ 300784 w 342248"/>
                <a:gd name="connsiteY11" fmla="*/ 283013 h 355411"/>
                <a:gd name="connsiteX12" fmla="*/ 330401 w 342248"/>
                <a:gd name="connsiteY12" fmla="*/ 234308 h 355411"/>
                <a:gd name="connsiteX13" fmla="*/ 342248 w 342248"/>
                <a:gd name="connsiteY13" fmla="*/ 175073 h 355411"/>
                <a:gd name="connsiteX14" fmla="*/ 342248 w 342248"/>
                <a:gd name="connsiteY14" fmla="*/ 169150 h 355411"/>
                <a:gd name="connsiteX15" fmla="*/ 171124 w 342248"/>
                <a:gd name="connsiteY15" fmla="*/ 0 h 355411"/>
                <a:gd name="connsiteX16" fmla="*/ 302758 w 342248"/>
                <a:gd name="connsiteY16" fmla="*/ 174415 h 355411"/>
                <a:gd name="connsiteX17" fmla="*/ 293544 w 342248"/>
                <a:gd name="connsiteY17" fmla="*/ 220487 h 355411"/>
                <a:gd name="connsiteX18" fmla="*/ 271166 w 342248"/>
                <a:gd name="connsiteY18" fmla="*/ 256686 h 355411"/>
                <a:gd name="connsiteX19" fmla="*/ 232992 w 342248"/>
                <a:gd name="connsiteY19" fmla="*/ 315922 h 355411"/>
                <a:gd name="connsiteX20" fmla="*/ 171124 w 342248"/>
                <a:gd name="connsiteY20" fmla="*/ 315922 h 355411"/>
                <a:gd name="connsiteX21" fmla="*/ 109914 w 342248"/>
                <a:gd name="connsiteY21" fmla="*/ 315922 h 355411"/>
                <a:gd name="connsiteX22" fmla="*/ 71741 w 342248"/>
                <a:gd name="connsiteY22" fmla="*/ 256686 h 355411"/>
                <a:gd name="connsiteX23" fmla="*/ 49363 w 342248"/>
                <a:gd name="connsiteY23" fmla="*/ 220487 h 355411"/>
                <a:gd name="connsiteX24" fmla="*/ 40148 w 342248"/>
                <a:gd name="connsiteY24" fmla="*/ 174415 h 355411"/>
                <a:gd name="connsiteX25" fmla="*/ 40148 w 342248"/>
                <a:gd name="connsiteY25" fmla="*/ 169150 h 355411"/>
                <a:gd name="connsiteX26" fmla="*/ 171782 w 342248"/>
                <a:gd name="connsiteY26" fmla="*/ 38832 h 355411"/>
                <a:gd name="connsiteX27" fmla="*/ 171782 w 342248"/>
                <a:gd name="connsiteY27" fmla="*/ 38832 h 355411"/>
                <a:gd name="connsiteX28" fmla="*/ 171782 w 342248"/>
                <a:gd name="connsiteY28" fmla="*/ 38832 h 355411"/>
                <a:gd name="connsiteX29" fmla="*/ 171782 w 342248"/>
                <a:gd name="connsiteY29" fmla="*/ 38832 h 355411"/>
                <a:gd name="connsiteX30" fmla="*/ 171782 w 342248"/>
                <a:gd name="connsiteY30" fmla="*/ 38832 h 355411"/>
                <a:gd name="connsiteX31" fmla="*/ 171782 w 342248"/>
                <a:gd name="connsiteY31" fmla="*/ 38832 h 355411"/>
                <a:gd name="connsiteX32" fmla="*/ 171782 w 342248"/>
                <a:gd name="connsiteY32" fmla="*/ 38832 h 355411"/>
                <a:gd name="connsiteX33" fmla="*/ 303416 w 342248"/>
                <a:gd name="connsiteY33" fmla="*/ 169150 h 355411"/>
                <a:gd name="connsiteX34" fmla="*/ 303416 w 342248"/>
                <a:gd name="connsiteY34" fmla="*/ 174415 h 35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42248" h="355411">
                  <a:moveTo>
                    <a:pt x="171124" y="0"/>
                  </a:moveTo>
                  <a:cubicBezTo>
                    <a:pt x="171124" y="0"/>
                    <a:pt x="171124" y="0"/>
                    <a:pt x="171124" y="0"/>
                  </a:cubicBezTo>
                  <a:cubicBezTo>
                    <a:pt x="171124" y="0"/>
                    <a:pt x="171124" y="0"/>
                    <a:pt x="171124" y="0"/>
                  </a:cubicBezTo>
                  <a:cubicBezTo>
                    <a:pt x="77664" y="658"/>
                    <a:pt x="1975" y="75690"/>
                    <a:pt x="0" y="169150"/>
                  </a:cubicBezTo>
                  <a:lnTo>
                    <a:pt x="0" y="175073"/>
                  </a:lnTo>
                  <a:cubicBezTo>
                    <a:pt x="658" y="195476"/>
                    <a:pt x="4607" y="215222"/>
                    <a:pt x="11847" y="234308"/>
                  </a:cubicBezTo>
                  <a:cubicBezTo>
                    <a:pt x="19087" y="252079"/>
                    <a:pt x="28959" y="268533"/>
                    <a:pt x="41465" y="283013"/>
                  </a:cubicBezTo>
                  <a:cubicBezTo>
                    <a:pt x="57261" y="300125"/>
                    <a:pt x="74373" y="333692"/>
                    <a:pt x="81613" y="348172"/>
                  </a:cubicBezTo>
                  <a:cubicBezTo>
                    <a:pt x="83588" y="352779"/>
                    <a:pt x="88195" y="355412"/>
                    <a:pt x="93460" y="355412"/>
                  </a:cubicBezTo>
                  <a:lnTo>
                    <a:pt x="248788" y="355412"/>
                  </a:lnTo>
                  <a:cubicBezTo>
                    <a:pt x="254054" y="355412"/>
                    <a:pt x="258661" y="352779"/>
                    <a:pt x="260635" y="348172"/>
                  </a:cubicBezTo>
                  <a:cubicBezTo>
                    <a:pt x="267875" y="333692"/>
                    <a:pt x="284988" y="300125"/>
                    <a:pt x="300784" y="283013"/>
                  </a:cubicBezTo>
                  <a:cubicBezTo>
                    <a:pt x="313289" y="268533"/>
                    <a:pt x="323820" y="252079"/>
                    <a:pt x="330401" y="234308"/>
                  </a:cubicBezTo>
                  <a:cubicBezTo>
                    <a:pt x="337641" y="215222"/>
                    <a:pt x="341590" y="195476"/>
                    <a:pt x="342248" y="175073"/>
                  </a:cubicBezTo>
                  <a:lnTo>
                    <a:pt x="342248" y="169150"/>
                  </a:lnTo>
                  <a:cubicBezTo>
                    <a:pt x="340274" y="75690"/>
                    <a:pt x="264584" y="658"/>
                    <a:pt x="171124" y="0"/>
                  </a:cubicBezTo>
                  <a:close/>
                  <a:moveTo>
                    <a:pt x="302758" y="174415"/>
                  </a:moveTo>
                  <a:cubicBezTo>
                    <a:pt x="302100" y="190211"/>
                    <a:pt x="298809" y="206007"/>
                    <a:pt x="293544" y="220487"/>
                  </a:cubicBezTo>
                  <a:cubicBezTo>
                    <a:pt x="288278" y="233650"/>
                    <a:pt x="281038" y="246156"/>
                    <a:pt x="271166" y="256686"/>
                  </a:cubicBezTo>
                  <a:cubicBezTo>
                    <a:pt x="256028" y="275115"/>
                    <a:pt x="242865" y="294860"/>
                    <a:pt x="232992" y="315922"/>
                  </a:cubicBezTo>
                  <a:lnTo>
                    <a:pt x="171124" y="315922"/>
                  </a:lnTo>
                  <a:lnTo>
                    <a:pt x="109914" y="315922"/>
                  </a:lnTo>
                  <a:cubicBezTo>
                    <a:pt x="99384" y="294860"/>
                    <a:pt x="86220" y="275115"/>
                    <a:pt x="71741" y="256686"/>
                  </a:cubicBezTo>
                  <a:cubicBezTo>
                    <a:pt x="62526" y="246156"/>
                    <a:pt x="54628" y="233650"/>
                    <a:pt x="49363" y="220487"/>
                  </a:cubicBezTo>
                  <a:cubicBezTo>
                    <a:pt x="43439" y="206007"/>
                    <a:pt x="40807" y="190211"/>
                    <a:pt x="40148" y="174415"/>
                  </a:cubicBezTo>
                  <a:lnTo>
                    <a:pt x="40148" y="169150"/>
                  </a:lnTo>
                  <a:cubicBezTo>
                    <a:pt x="41465" y="97409"/>
                    <a:pt x="100042" y="39490"/>
                    <a:pt x="171782" y="38832"/>
                  </a:cubicBezTo>
                  <a:lnTo>
                    <a:pt x="171782" y="38832"/>
                  </a:lnTo>
                  <a:lnTo>
                    <a:pt x="171782" y="38832"/>
                  </a:lnTo>
                  <a:cubicBezTo>
                    <a:pt x="171782" y="38832"/>
                    <a:pt x="171782" y="38832"/>
                    <a:pt x="171782" y="38832"/>
                  </a:cubicBezTo>
                  <a:cubicBezTo>
                    <a:pt x="171782" y="38832"/>
                    <a:pt x="171782" y="38832"/>
                    <a:pt x="171782" y="38832"/>
                  </a:cubicBezTo>
                  <a:lnTo>
                    <a:pt x="171782" y="38832"/>
                  </a:lnTo>
                  <a:lnTo>
                    <a:pt x="171782" y="38832"/>
                  </a:lnTo>
                  <a:cubicBezTo>
                    <a:pt x="243523" y="39490"/>
                    <a:pt x="302100" y="96751"/>
                    <a:pt x="303416" y="169150"/>
                  </a:cubicBezTo>
                  <a:lnTo>
                    <a:pt x="303416" y="174415"/>
                  </a:ln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79C1B0B-9568-4F9A-90D6-0F3115DED434}"/>
              </a:ext>
            </a:extLst>
          </p:cNvPr>
          <p:cNvSpPr txBox="1"/>
          <p:nvPr/>
        </p:nvSpPr>
        <p:spPr>
          <a:xfrm>
            <a:off x="976403" y="4150871"/>
            <a:ext cx="3025710" cy="1569660"/>
          </a:xfrm>
          <a:prstGeom prst="rect">
            <a:avLst/>
          </a:prstGeom>
          <a:noFill/>
        </p:spPr>
        <p:txBody>
          <a:bodyPr wrap="square" lIns="68580" rIns="6858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Different workforce now than bef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Skills have not evolved together with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Adoption of digital solutions requires agile workfor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5DDFD7-48AC-4C2F-88E9-601C937EBA33}"/>
              </a:ext>
            </a:extLst>
          </p:cNvPr>
          <p:cNvSpPr/>
          <p:nvPr/>
        </p:nvSpPr>
        <p:spPr>
          <a:xfrm>
            <a:off x="983706" y="5831774"/>
            <a:ext cx="3265657" cy="458146"/>
          </a:xfrm>
          <a:prstGeom prst="rect">
            <a:avLst/>
          </a:prstGeom>
          <a:solidFill>
            <a:srgbClr val="FFC22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68580" tIns="0" rIns="6858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Bogle" panose="020B0503020203060203" pitchFamily="34" charset="0"/>
              </a:rPr>
              <a:t>People</a:t>
            </a:r>
            <a:endParaRPr kumimoji="0" lang="en-US" b="1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grpSp>
        <p:nvGrpSpPr>
          <p:cNvPr id="29" name="Graphic 92" descr="Rocket">
            <a:extLst>
              <a:ext uri="{FF2B5EF4-FFF2-40B4-BE49-F238E27FC236}">
                <a16:creationId xmlns:a16="http://schemas.microsoft.com/office/drawing/2014/main" id="{A8027E10-F80D-4765-9584-BAA7F481EB09}"/>
              </a:ext>
            </a:extLst>
          </p:cNvPr>
          <p:cNvGrpSpPr/>
          <p:nvPr/>
        </p:nvGrpSpPr>
        <p:grpSpPr>
          <a:xfrm>
            <a:off x="4531488" y="2445265"/>
            <a:ext cx="495405" cy="495009"/>
            <a:chOff x="1389597" y="2848958"/>
            <a:chExt cx="527809" cy="527387"/>
          </a:xfrm>
          <a:solidFill>
            <a:srgbClr val="FFFFFF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CDD94F8-C1FB-4683-B07A-B01F5F96301F}"/>
                </a:ext>
              </a:extLst>
            </p:cNvPr>
            <p:cNvSpPr/>
            <p:nvPr/>
          </p:nvSpPr>
          <p:spPr>
            <a:xfrm>
              <a:off x="1798935" y="2848958"/>
              <a:ext cx="118471" cy="111889"/>
            </a:xfrm>
            <a:custGeom>
              <a:avLst/>
              <a:gdLst>
                <a:gd name="connsiteX0" fmla="*/ 117812 w 118470"/>
                <a:gd name="connsiteY0" fmla="*/ 3484 h 111888"/>
                <a:gd name="connsiteX1" fmla="*/ 0 w 118470"/>
                <a:gd name="connsiteY1" fmla="*/ 17964 h 111888"/>
                <a:gd name="connsiteX2" fmla="*/ 53970 w 118470"/>
                <a:gd name="connsiteY2" fmla="*/ 60745 h 111888"/>
                <a:gd name="connsiteX3" fmla="*/ 97409 w 118470"/>
                <a:gd name="connsiteY3" fmla="*/ 116031 h 111888"/>
                <a:gd name="connsiteX4" fmla="*/ 117812 w 118470"/>
                <a:gd name="connsiteY4" fmla="*/ 3484 h 11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70" h="111888">
                  <a:moveTo>
                    <a:pt x="117812" y="3484"/>
                  </a:moveTo>
                  <a:cubicBezTo>
                    <a:pt x="108598" y="-5730"/>
                    <a:pt x="49363" y="4801"/>
                    <a:pt x="0" y="17964"/>
                  </a:cubicBezTo>
                  <a:cubicBezTo>
                    <a:pt x="17771" y="28495"/>
                    <a:pt x="36199" y="42974"/>
                    <a:pt x="53970" y="60745"/>
                  </a:cubicBezTo>
                  <a:cubicBezTo>
                    <a:pt x="72399" y="79174"/>
                    <a:pt x="86878" y="97602"/>
                    <a:pt x="97409" y="116031"/>
                  </a:cubicBezTo>
                  <a:cubicBezTo>
                    <a:pt x="110572" y="65352"/>
                    <a:pt x="127685" y="12699"/>
                    <a:pt x="117812" y="3484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D2ED4C7-3693-4D6C-8DF8-81FF6003A180}"/>
                </a:ext>
              </a:extLst>
            </p:cNvPr>
            <p:cNvSpPr/>
            <p:nvPr/>
          </p:nvSpPr>
          <p:spPr>
            <a:xfrm>
              <a:off x="1389597" y="3029901"/>
              <a:ext cx="157961" cy="151379"/>
            </a:xfrm>
            <a:custGeom>
              <a:avLst/>
              <a:gdLst>
                <a:gd name="connsiteX0" fmla="*/ 160549 w 157960"/>
                <a:gd name="connsiteY0" fmla="*/ 10120 h 151379"/>
                <a:gd name="connsiteX1" fmla="*/ 138171 w 157960"/>
                <a:gd name="connsiteY1" fmla="*/ 1563 h 151379"/>
                <a:gd name="connsiteX2" fmla="*/ 111844 w 157960"/>
                <a:gd name="connsiteY2" fmla="*/ 6829 h 151379"/>
                <a:gd name="connsiteX3" fmla="*/ 7195 w 157960"/>
                <a:gd name="connsiteY3" fmla="*/ 111478 h 151379"/>
                <a:gd name="connsiteX4" fmla="*/ 29573 w 157960"/>
                <a:gd name="connsiteY4" fmla="*/ 152942 h 151379"/>
                <a:gd name="connsiteX5" fmla="*/ 117110 w 157960"/>
                <a:gd name="connsiteY5" fmla="*/ 133197 h 151379"/>
                <a:gd name="connsiteX6" fmla="*/ 160549 w 157960"/>
                <a:gd name="connsiteY6" fmla="*/ 10120 h 15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960" h="151379">
                  <a:moveTo>
                    <a:pt x="160549" y="10120"/>
                  </a:moveTo>
                  <a:lnTo>
                    <a:pt x="138171" y="1563"/>
                  </a:lnTo>
                  <a:cubicBezTo>
                    <a:pt x="128957" y="-1728"/>
                    <a:pt x="119084" y="247"/>
                    <a:pt x="111844" y="6829"/>
                  </a:cubicBezTo>
                  <a:lnTo>
                    <a:pt x="7195" y="111478"/>
                  </a:lnTo>
                  <a:cubicBezTo>
                    <a:pt x="-9917" y="128590"/>
                    <a:pt x="5879" y="158208"/>
                    <a:pt x="29573" y="152942"/>
                  </a:cubicBezTo>
                  <a:lnTo>
                    <a:pt x="117110" y="133197"/>
                  </a:lnTo>
                  <a:cubicBezTo>
                    <a:pt x="124350" y="100289"/>
                    <a:pt x="136197" y="56191"/>
                    <a:pt x="160549" y="10120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FBBB8BE-5612-44EA-9747-68BC2F1F2AEE}"/>
                </a:ext>
              </a:extLst>
            </p:cNvPr>
            <p:cNvSpPr/>
            <p:nvPr/>
          </p:nvSpPr>
          <p:spPr>
            <a:xfrm>
              <a:off x="1583083" y="3211803"/>
              <a:ext cx="151379" cy="164542"/>
            </a:xfrm>
            <a:custGeom>
              <a:avLst/>
              <a:gdLst>
                <a:gd name="connsiteX0" fmla="*/ 141478 w 151379"/>
                <a:gd name="connsiteY0" fmla="*/ 0 h 164542"/>
                <a:gd name="connsiteX1" fmla="*/ 21033 w 151379"/>
                <a:gd name="connsiteY1" fmla="*/ 42123 h 164542"/>
                <a:gd name="connsiteX2" fmla="*/ 630 w 151379"/>
                <a:gd name="connsiteY2" fmla="*/ 135583 h 164542"/>
                <a:gd name="connsiteX3" fmla="*/ 42095 w 151379"/>
                <a:gd name="connsiteY3" fmla="*/ 157961 h 164542"/>
                <a:gd name="connsiteX4" fmla="*/ 146744 w 151379"/>
                <a:gd name="connsiteY4" fmla="*/ 53312 h 164542"/>
                <a:gd name="connsiteX5" fmla="*/ 152009 w 151379"/>
                <a:gd name="connsiteY5" fmla="*/ 26985 h 164542"/>
                <a:gd name="connsiteX6" fmla="*/ 141478 w 151379"/>
                <a:gd name="connsiteY6" fmla="*/ 0 h 164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379" h="164542">
                  <a:moveTo>
                    <a:pt x="141478" y="0"/>
                  </a:moveTo>
                  <a:cubicBezTo>
                    <a:pt x="97381" y="23036"/>
                    <a:pt x="55258" y="35541"/>
                    <a:pt x="21033" y="42123"/>
                  </a:cubicBezTo>
                  <a:lnTo>
                    <a:pt x="630" y="135583"/>
                  </a:lnTo>
                  <a:cubicBezTo>
                    <a:pt x="-4635" y="159277"/>
                    <a:pt x="24324" y="175731"/>
                    <a:pt x="42095" y="157961"/>
                  </a:cubicBezTo>
                  <a:lnTo>
                    <a:pt x="146744" y="53312"/>
                  </a:lnTo>
                  <a:cubicBezTo>
                    <a:pt x="153325" y="46730"/>
                    <a:pt x="155958" y="36199"/>
                    <a:pt x="152009" y="26985"/>
                  </a:cubicBezTo>
                  <a:lnTo>
                    <a:pt x="141478" y="0"/>
                  </a:ln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DFB5AE3-D898-4954-83EB-F883D7B78CF4}"/>
                </a:ext>
              </a:extLst>
            </p:cNvPr>
            <p:cNvSpPr/>
            <p:nvPr/>
          </p:nvSpPr>
          <p:spPr>
            <a:xfrm>
              <a:off x="1529743" y="2878768"/>
              <a:ext cx="348830" cy="348830"/>
            </a:xfrm>
            <a:custGeom>
              <a:avLst/>
              <a:gdLst>
                <a:gd name="connsiteX0" fmla="*/ 233650 w 348829"/>
                <a:gd name="connsiteY0" fmla="*/ 0 h 348829"/>
                <a:gd name="connsiteX1" fmla="*/ 107940 w 348829"/>
                <a:gd name="connsiteY1" fmla="*/ 85562 h 348829"/>
                <a:gd name="connsiteX2" fmla="*/ 0 w 348829"/>
                <a:gd name="connsiteY2" fmla="*/ 312631 h 348829"/>
                <a:gd name="connsiteX3" fmla="*/ 40807 w 348829"/>
                <a:gd name="connsiteY3" fmla="*/ 353437 h 348829"/>
                <a:gd name="connsiteX4" fmla="*/ 268533 w 348829"/>
                <a:gd name="connsiteY4" fmla="*/ 246156 h 348829"/>
                <a:gd name="connsiteX5" fmla="*/ 354095 w 348829"/>
                <a:gd name="connsiteY5" fmla="*/ 121103 h 348829"/>
                <a:gd name="connsiteX6" fmla="*/ 304074 w 348829"/>
                <a:gd name="connsiteY6" fmla="*/ 48705 h 348829"/>
                <a:gd name="connsiteX7" fmla="*/ 233650 w 348829"/>
                <a:gd name="connsiteY7" fmla="*/ 0 h 348829"/>
                <a:gd name="connsiteX8" fmla="*/ 267217 w 348829"/>
                <a:gd name="connsiteY8" fmla="*/ 142165 h 348829"/>
                <a:gd name="connsiteX9" fmla="*/ 211273 w 348829"/>
                <a:gd name="connsiteY9" fmla="*/ 142165 h 348829"/>
                <a:gd name="connsiteX10" fmla="*/ 211273 w 348829"/>
                <a:gd name="connsiteY10" fmla="*/ 86220 h 348829"/>
                <a:gd name="connsiteX11" fmla="*/ 267217 w 348829"/>
                <a:gd name="connsiteY11" fmla="*/ 86220 h 348829"/>
                <a:gd name="connsiteX12" fmla="*/ 267217 w 348829"/>
                <a:gd name="connsiteY12" fmla="*/ 142165 h 34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8829" h="348829">
                  <a:moveTo>
                    <a:pt x="233650" y="0"/>
                  </a:moveTo>
                  <a:cubicBezTo>
                    <a:pt x="194818" y="15796"/>
                    <a:pt x="150721" y="42781"/>
                    <a:pt x="107940" y="85562"/>
                  </a:cubicBezTo>
                  <a:cubicBezTo>
                    <a:pt x="29618" y="163884"/>
                    <a:pt x="6582" y="258661"/>
                    <a:pt x="0" y="312631"/>
                  </a:cubicBezTo>
                  <a:lnTo>
                    <a:pt x="40807" y="353437"/>
                  </a:lnTo>
                  <a:cubicBezTo>
                    <a:pt x="94776" y="346855"/>
                    <a:pt x="190211" y="324478"/>
                    <a:pt x="268533" y="246156"/>
                  </a:cubicBezTo>
                  <a:cubicBezTo>
                    <a:pt x="311314" y="203374"/>
                    <a:pt x="338299" y="159935"/>
                    <a:pt x="354095" y="121103"/>
                  </a:cubicBezTo>
                  <a:cubicBezTo>
                    <a:pt x="345539" y="99384"/>
                    <a:pt x="328427" y="73715"/>
                    <a:pt x="304074" y="48705"/>
                  </a:cubicBezTo>
                  <a:cubicBezTo>
                    <a:pt x="280380" y="25669"/>
                    <a:pt x="255370" y="8556"/>
                    <a:pt x="233650" y="0"/>
                  </a:cubicBezTo>
                  <a:close/>
                  <a:moveTo>
                    <a:pt x="267217" y="142165"/>
                  </a:moveTo>
                  <a:cubicBezTo>
                    <a:pt x="252079" y="157303"/>
                    <a:pt x="227069" y="157303"/>
                    <a:pt x="211273" y="142165"/>
                  </a:cubicBezTo>
                  <a:cubicBezTo>
                    <a:pt x="196135" y="127027"/>
                    <a:pt x="196135" y="102016"/>
                    <a:pt x="211273" y="86220"/>
                  </a:cubicBezTo>
                  <a:cubicBezTo>
                    <a:pt x="226410" y="71082"/>
                    <a:pt x="251421" y="71082"/>
                    <a:pt x="267217" y="86220"/>
                  </a:cubicBezTo>
                  <a:cubicBezTo>
                    <a:pt x="282355" y="102016"/>
                    <a:pt x="282355" y="127027"/>
                    <a:pt x="267217" y="142165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AEEC1DE-EA5C-4267-BEC4-5DC18ED1E55F}"/>
                </a:ext>
              </a:extLst>
            </p:cNvPr>
            <p:cNvSpPr/>
            <p:nvPr/>
          </p:nvSpPr>
          <p:spPr>
            <a:xfrm>
              <a:off x="1452223" y="3215985"/>
              <a:ext cx="92144" cy="92144"/>
            </a:xfrm>
            <a:custGeom>
              <a:avLst/>
              <a:gdLst>
                <a:gd name="connsiteX0" fmla="*/ 76862 w 92143"/>
                <a:gd name="connsiteY0" fmla="*/ 16879 h 92143"/>
                <a:gd name="connsiteX1" fmla="*/ 45928 w 92143"/>
                <a:gd name="connsiteY1" fmla="*/ 10298 h 92143"/>
                <a:gd name="connsiteX2" fmla="*/ 1831 w 92143"/>
                <a:gd name="connsiteY2" fmla="*/ 91911 h 92143"/>
                <a:gd name="connsiteX3" fmla="*/ 83444 w 92143"/>
                <a:gd name="connsiteY3" fmla="*/ 47813 h 92143"/>
                <a:gd name="connsiteX4" fmla="*/ 76862 w 92143"/>
                <a:gd name="connsiteY4" fmla="*/ 16879 h 92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143" h="92143">
                  <a:moveTo>
                    <a:pt x="76862" y="16879"/>
                  </a:moveTo>
                  <a:cubicBezTo>
                    <a:pt x="66332" y="6349"/>
                    <a:pt x="67648" y="-11422"/>
                    <a:pt x="45928" y="10298"/>
                  </a:cubicBezTo>
                  <a:cubicBezTo>
                    <a:pt x="24209" y="32017"/>
                    <a:pt x="-8041" y="81380"/>
                    <a:pt x="1831" y="91911"/>
                  </a:cubicBezTo>
                  <a:cubicBezTo>
                    <a:pt x="12362" y="102442"/>
                    <a:pt x="61725" y="69533"/>
                    <a:pt x="83444" y="47813"/>
                  </a:cubicBezTo>
                  <a:cubicBezTo>
                    <a:pt x="105164" y="25436"/>
                    <a:pt x="87393" y="26752"/>
                    <a:pt x="76862" y="16879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D3DC28B7-C42F-426D-9DC3-60007487A104}"/>
              </a:ext>
            </a:extLst>
          </p:cNvPr>
          <p:cNvSpPr/>
          <p:nvPr/>
        </p:nvSpPr>
        <p:spPr>
          <a:xfrm>
            <a:off x="6003042" y="1151999"/>
            <a:ext cx="118993" cy="5026024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9000">
                <a:srgbClr val="F1EFF0"/>
              </a:gs>
              <a:gs pos="7700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9B83D20-DA0B-4A57-93A2-D315FC7BF630}"/>
              </a:ext>
            </a:extLst>
          </p:cNvPr>
          <p:cNvSpPr/>
          <p:nvPr/>
        </p:nvSpPr>
        <p:spPr>
          <a:xfrm rot="5400000">
            <a:off x="5995023" y="-1033529"/>
            <a:ext cx="135533" cy="9413619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33000">
                <a:srgbClr val="F1EFF0"/>
              </a:gs>
              <a:gs pos="7700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E7D11CB-6C5C-40F4-A166-A6889F07A8A5}"/>
              </a:ext>
            </a:extLst>
          </p:cNvPr>
          <p:cNvSpPr/>
          <p:nvPr/>
        </p:nvSpPr>
        <p:spPr>
          <a:xfrm>
            <a:off x="4833661" y="2424644"/>
            <a:ext cx="2513366" cy="242542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88900" dist="76200" dir="2700000" algn="tl" rotWithShape="0">
              <a:prstClr val="black">
                <a:alpha val="55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all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Bogle" panose="020B0503020203060203" pitchFamily="34" charset="0"/>
              </a:rPr>
              <a:t>WH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21B05F26-0F58-3B55-16ED-9743EBDFCAE4}"/>
              </a:ext>
            </a:extLst>
          </p:cNvPr>
          <p:cNvSpPr/>
          <p:nvPr/>
        </p:nvSpPr>
        <p:spPr>
          <a:xfrm>
            <a:off x="-609600" y="488950"/>
            <a:ext cx="228600" cy="228600"/>
          </a:xfrm>
          <a:prstGeom prst="rect">
            <a:avLst/>
          </a:prstGeom>
          <a:solidFill>
            <a:srgbClr val="081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81F2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6">
            <a:extLst>
              <a:ext uri="{FF2B5EF4-FFF2-40B4-BE49-F238E27FC236}">
                <a16:creationId xmlns:a16="http://schemas.microsoft.com/office/drawing/2014/main" id="{091A825F-40CA-3FD0-792C-1C8548FDE81D}"/>
              </a:ext>
            </a:extLst>
          </p:cNvPr>
          <p:cNvSpPr/>
          <p:nvPr/>
        </p:nvSpPr>
        <p:spPr>
          <a:xfrm>
            <a:off x="-609600" y="829733"/>
            <a:ext cx="228600" cy="228600"/>
          </a:xfrm>
          <a:prstGeom prst="rect">
            <a:avLst/>
          </a:prstGeom>
          <a:solidFill>
            <a:srgbClr val="78B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8B9E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7">
            <a:extLst>
              <a:ext uri="{FF2B5EF4-FFF2-40B4-BE49-F238E27FC236}">
                <a16:creationId xmlns:a16="http://schemas.microsoft.com/office/drawing/2014/main" id="{0F4284F9-FA1C-C063-A7BC-F7687D9234C1}"/>
              </a:ext>
            </a:extLst>
          </p:cNvPr>
          <p:cNvSpPr/>
          <p:nvPr/>
        </p:nvSpPr>
        <p:spPr>
          <a:xfrm>
            <a:off x="-609600" y="1511299"/>
            <a:ext cx="228600" cy="228600"/>
          </a:xfrm>
          <a:prstGeom prst="rect">
            <a:avLst/>
          </a:prstGeom>
          <a:solidFill>
            <a:srgbClr val="007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1C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8">
            <a:extLst>
              <a:ext uri="{FF2B5EF4-FFF2-40B4-BE49-F238E27FC236}">
                <a16:creationId xmlns:a16="http://schemas.microsoft.com/office/drawing/2014/main" id="{91A7759A-67EE-55B4-3161-564868E64181}"/>
              </a:ext>
            </a:extLst>
          </p:cNvPr>
          <p:cNvSpPr/>
          <p:nvPr/>
        </p:nvSpPr>
        <p:spPr>
          <a:xfrm>
            <a:off x="-609600" y="1850319"/>
            <a:ext cx="228600" cy="228600"/>
          </a:xfrm>
          <a:prstGeom prst="rect">
            <a:avLst/>
          </a:prstGeom>
          <a:solidFill>
            <a:srgbClr val="EB14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D7E3A4CF-3016-87FF-4563-C4B394E8E8A2}"/>
              </a:ext>
            </a:extLst>
          </p:cNvPr>
          <p:cNvSpPr/>
          <p:nvPr/>
        </p:nvSpPr>
        <p:spPr>
          <a:xfrm>
            <a:off x="-609600" y="2189339"/>
            <a:ext cx="228600" cy="228600"/>
          </a:xfrm>
          <a:prstGeom prst="rect">
            <a:avLst/>
          </a:prstGeom>
          <a:solidFill>
            <a:srgbClr val="FFC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2F084F60-F949-760D-FA39-9C5072D16653}"/>
              </a:ext>
            </a:extLst>
          </p:cNvPr>
          <p:cNvSpPr/>
          <p:nvPr/>
        </p:nvSpPr>
        <p:spPr>
          <a:xfrm>
            <a:off x="-609600" y="2528359"/>
            <a:ext cx="228600" cy="228600"/>
          </a:xfrm>
          <a:prstGeom prst="rect">
            <a:avLst/>
          </a:prstGeom>
          <a:solidFill>
            <a:srgbClr val="76C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 11">
            <a:extLst>
              <a:ext uri="{FF2B5EF4-FFF2-40B4-BE49-F238E27FC236}">
                <a16:creationId xmlns:a16="http://schemas.microsoft.com/office/drawing/2014/main" id="{923989BF-09ED-E4BA-7DF3-35D311DAF4DA}"/>
              </a:ext>
            </a:extLst>
          </p:cNvPr>
          <p:cNvSpPr/>
          <p:nvPr/>
        </p:nvSpPr>
        <p:spPr>
          <a:xfrm>
            <a:off x="-609600" y="2867379"/>
            <a:ext cx="228600" cy="228600"/>
          </a:xfrm>
          <a:prstGeom prst="rect">
            <a:avLst/>
          </a:prstGeom>
          <a:solidFill>
            <a:srgbClr val="F475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12">
            <a:extLst>
              <a:ext uri="{FF2B5EF4-FFF2-40B4-BE49-F238E27FC236}">
                <a16:creationId xmlns:a16="http://schemas.microsoft.com/office/drawing/2014/main" id="{E7BD86AA-5B3F-E032-D9E8-2AAAA165985E}"/>
              </a:ext>
            </a:extLst>
          </p:cNvPr>
          <p:cNvSpPr/>
          <p:nvPr/>
        </p:nvSpPr>
        <p:spPr>
          <a:xfrm>
            <a:off x="-609600" y="3206399"/>
            <a:ext cx="228600" cy="228600"/>
          </a:xfrm>
          <a:prstGeom prst="rect">
            <a:avLst/>
          </a:prstGeom>
          <a:solidFill>
            <a:srgbClr val="EE3B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 13">
            <a:extLst>
              <a:ext uri="{FF2B5EF4-FFF2-40B4-BE49-F238E27FC236}">
                <a16:creationId xmlns:a16="http://schemas.microsoft.com/office/drawing/2014/main" id="{CD928B35-563B-71D2-110D-99146AD78190}"/>
              </a:ext>
            </a:extLst>
          </p:cNvPr>
          <p:cNvSpPr/>
          <p:nvPr/>
        </p:nvSpPr>
        <p:spPr>
          <a:xfrm>
            <a:off x="-609600" y="3545417"/>
            <a:ext cx="228600" cy="228600"/>
          </a:xfrm>
          <a:prstGeom prst="rect">
            <a:avLst/>
          </a:prstGeom>
          <a:solidFill>
            <a:srgbClr val="3F3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" name="Connecteur droit 10">
            <a:extLst>
              <a:ext uri="{FF2B5EF4-FFF2-40B4-BE49-F238E27FC236}">
                <a16:creationId xmlns:a16="http://schemas.microsoft.com/office/drawing/2014/main" id="{497092FF-AE33-ADAE-E903-D3BE8D8E947C}"/>
              </a:ext>
            </a:extLst>
          </p:cNvPr>
          <p:cNvCxnSpPr>
            <a:cxnSpLocks/>
          </p:cNvCxnSpPr>
          <p:nvPr/>
        </p:nvCxnSpPr>
        <p:spPr>
          <a:xfrm flipV="1">
            <a:off x="0" y="679977"/>
            <a:ext cx="8712485" cy="2948"/>
          </a:xfrm>
          <a:prstGeom prst="line">
            <a:avLst/>
          </a:prstGeom>
          <a:ln w="12700">
            <a:solidFill>
              <a:srgbClr val="78B9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3">
            <a:extLst>
              <a:ext uri="{FF2B5EF4-FFF2-40B4-BE49-F238E27FC236}">
                <a16:creationId xmlns:a16="http://schemas.microsoft.com/office/drawing/2014/main" id="{881A8272-D750-3E0B-222C-21C9ED7915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90" y="0"/>
            <a:ext cx="7138899" cy="832039"/>
          </a:xfrm>
        </p:spPr>
        <p:txBody>
          <a:bodyPr anchor="ctr">
            <a:normAutofit/>
          </a:bodyPr>
          <a:lstStyle/>
          <a:p>
            <a:r>
              <a:rPr lang="en-US" dirty="0"/>
              <a:t>WHY benefits from digital are slow to deliver</a:t>
            </a:r>
          </a:p>
        </p:txBody>
      </p:sp>
    </p:spTree>
    <p:extLst>
      <p:ext uri="{BB962C8B-B14F-4D97-AF65-F5344CB8AC3E}">
        <p14:creationId xmlns:p14="http://schemas.microsoft.com/office/powerpoint/2010/main" val="4273924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5" grpId="0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AF02A1A-BCDD-4154-AE29-4FCEFB66C0A3}"/>
              </a:ext>
            </a:extLst>
          </p:cNvPr>
          <p:cNvSpPr/>
          <p:nvPr/>
        </p:nvSpPr>
        <p:spPr>
          <a:xfrm>
            <a:off x="4144680" y="1748137"/>
            <a:ext cx="1889223" cy="1889222"/>
          </a:xfrm>
          <a:custGeom>
            <a:avLst/>
            <a:gdLst>
              <a:gd name="connsiteX0" fmla="*/ 2012796 w 2012796"/>
              <a:gd name="connsiteY0" fmla="*/ 0 h 2012795"/>
              <a:gd name="connsiteX1" fmla="*/ 2012796 w 2012796"/>
              <a:gd name="connsiteY1" fmla="*/ 2012795 h 2012795"/>
              <a:gd name="connsiteX2" fmla="*/ 0 w 2012796"/>
              <a:gd name="connsiteY2" fmla="*/ 2012795 h 2012795"/>
              <a:gd name="connsiteX3" fmla="*/ 9362 w 2012796"/>
              <a:gd name="connsiteY3" fmla="*/ 1827403 h 2012795"/>
              <a:gd name="connsiteX4" fmla="*/ 1827403 w 2012796"/>
              <a:gd name="connsiteY4" fmla="*/ 9362 h 2012795"/>
              <a:gd name="connsiteX5" fmla="*/ 2012796 w 2012796"/>
              <a:gd name="connsiteY5" fmla="*/ 0 h 201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2796" h="2012795">
                <a:moveTo>
                  <a:pt x="2012796" y="0"/>
                </a:moveTo>
                <a:lnTo>
                  <a:pt x="2012796" y="2012795"/>
                </a:lnTo>
                <a:lnTo>
                  <a:pt x="0" y="2012795"/>
                </a:lnTo>
                <a:lnTo>
                  <a:pt x="9362" y="1827403"/>
                </a:lnTo>
                <a:cubicBezTo>
                  <a:pt x="106713" y="868801"/>
                  <a:pt x="868801" y="106713"/>
                  <a:pt x="1827403" y="9362"/>
                </a:cubicBezTo>
                <a:lnTo>
                  <a:pt x="2012796" y="0"/>
                </a:lnTo>
                <a:close/>
              </a:path>
            </a:pathLst>
          </a:custGeom>
          <a:solidFill>
            <a:srgbClr val="78B9E7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001ED95-6986-4D57-BE45-58CD9530AC97}"/>
              </a:ext>
            </a:extLst>
          </p:cNvPr>
          <p:cNvSpPr/>
          <p:nvPr/>
        </p:nvSpPr>
        <p:spPr>
          <a:xfrm>
            <a:off x="6076818" y="1748137"/>
            <a:ext cx="1889222" cy="1889222"/>
          </a:xfrm>
          <a:custGeom>
            <a:avLst/>
            <a:gdLst>
              <a:gd name="connsiteX0" fmla="*/ 0 w 2012795"/>
              <a:gd name="connsiteY0" fmla="*/ 0 h 2012795"/>
              <a:gd name="connsiteX1" fmla="*/ 185392 w 2012795"/>
              <a:gd name="connsiteY1" fmla="*/ 9362 h 2012795"/>
              <a:gd name="connsiteX2" fmla="*/ 1417382 w 2012795"/>
              <a:gd name="connsiteY2" fmla="*/ 595414 h 2012795"/>
              <a:gd name="connsiteX3" fmla="*/ 1548841 w 2012795"/>
              <a:gd name="connsiteY3" fmla="*/ 740055 h 2012795"/>
              <a:gd name="connsiteX4" fmla="*/ 1853887 w 2012795"/>
              <a:gd name="connsiteY4" fmla="*/ 1242837 h 2012795"/>
              <a:gd name="connsiteX5" fmla="*/ 2003433 w 2012795"/>
              <a:gd name="connsiteY5" fmla="*/ 1827403 h 2012795"/>
              <a:gd name="connsiteX6" fmla="*/ 2012795 w 2012795"/>
              <a:gd name="connsiteY6" fmla="*/ 2012795 h 2012795"/>
              <a:gd name="connsiteX7" fmla="*/ 0 w 2012795"/>
              <a:gd name="connsiteY7" fmla="*/ 2012795 h 2012795"/>
              <a:gd name="connsiteX8" fmla="*/ 0 w 2012795"/>
              <a:gd name="connsiteY8" fmla="*/ 0 h 2012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2795" h="2012795">
                <a:moveTo>
                  <a:pt x="0" y="0"/>
                </a:moveTo>
                <a:lnTo>
                  <a:pt x="185392" y="9362"/>
                </a:lnTo>
                <a:cubicBezTo>
                  <a:pt x="664694" y="58038"/>
                  <a:pt x="1094866" y="272898"/>
                  <a:pt x="1417382" y="595414"/>
                </a:cubicBezTo>
                <a:cubicBezTo>
                  <a:pt x="1463455" y="641487"/>
                  <a:pt x="1507332" y="689758"/>
                  <a:pt x="1548841" y="740055"/>
                </a:cubicBezTo>
                <a:cubicBezTo>
                  <a:pt x="1673368" y="890947"/>
                  <a:pt x="1776586" y="1060077"/>
                  <a:pt x="1853887" y="1242837"/>
                </a:cubicBezTo>
                <a:cubicBezTo>
                  <a:pt x="1931188" y="1425598"/>
                  <a:pt x="1982573" y="1621989"/>
                  <a:pt x="2003433" y="1827403"/>
                </a:cubicBezTo>
                <a:lnTo>
                  <a:pt x="2012795" y="2012795"/>
                </a:lnTo>
                <a:lnTo>
                  <a:pt x="0" y="2012795"/>
                </a:lnTo>
                <a:lnTo>
                  <a:pt x="0" y="0"/>
                </a:lnTo>
                <a:close/>
              </a:path>
            </a:pathLst>
          </a:custGeom>
          <a:solidFill>
            <a:srgbClr val="76C043"/>
          </a:solidFill>
          <a:ln>
            <a:solidFill>
              <a:srgbClr val="76C043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0002463-94FB-458A-A5EB-687A82CB7C1B}"/>
              </a:ext>
            </a:extLst>
          </p:cNvPr>
          <p:cNvSpPr/>
          <p:nvPr/>
        </p:nvSpPr>
        <p:spPr>
          <a:xfrm>
            <a:off x="4144680" y="3680270"/>
            <a:ext cx="1889223" cy="1889223"/>
          </a:xfrm>
          <a:custGeom>
            <a:avLst/>
            <a:gdLst>
              <a:gd name="connsiteX0" fmla="*/ 0 w 2012796"/>
              <a:gd name="connsiteY0" fmla="*/ 0 h 2012796"/>
              <a:gd name="connsiteX1" fmla="*/ 2012796 w 2012796"/>
              <a:gd name="connsiteY1" fmla="*/ 0 h 2012796"/>
              <a:gd name="connsiteX2" fmla="*/ 2012796 w 2012796"/>
              <a:gd name="connsiteY2" fmla="*/ 2012796 h 2012796"/>
              <a:gd name="connsiteX3" fmla="*/ 1827403 w 2012796"/>
              <a:gd name="connsiteY3" fmla="*/ 2003434 h 2012796"/>
              <a:gd name="connsiteX4" fmla="*/ 1242837 w 2012796"/>
              <a:gd name="connsiteY4" fmla="*/ 1853888 h 2012796"/>
              <a:gd name="connsiteX5" fmla="*/ 740055 w 2012796"/>
              <a:gd name="connsiteY5" fmla="*/ 1548842 h 2012796"/>
              <a:gd name="connsiteX6" fmla="*/ 595414 w 2012796"/>
              <a:gd name="connsiteY6" fmla="*/ 1417383 h 2012796"/>
              <a:gd name="connsiteX7" fmla="*/ 9362 w 2012796"/>
              <a:gd name="connsiteY7" fmla="*/ 185393 h 2012796"/>
              <a:gd name="connsiteX8" fmla="*/ 0 w 2012796"/>
              <a:gd name="connsiteY8" fmla="*/ 0 h 20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12796" h="2012796">
                <a:moveTo>
                  <a:pt x="0" y="0"/>
                </a:moveTo>
                <a:lnTo>
                  <a:pt x="2012796" y="0"/>
                </a:lnTo>
                <a:lnTo>
                  <a:pt x="2012796" y="2012796"/>
                </a:lnTo>
                <a:lnTo>
                  <a:pt x="1827403" y="2003434"/>
                </a:lnTo>
                <a:cubicBezTo>
                  <a:pt x="1621989" y="1982574"/>
                  <a:pt x="1425598" y="1931189"/>
                  <a:pt x="1242837" y="1853888"/>
                </a:cubicBezTo>
                <a:cubicBezTo>
                  <a:pt x="1060077" y="1776587"/>
                  <a:pt x="890947" y="1673369"/>
                  <a:pt x="740055" y="1548842"/>
                </a:cubicBezTo>
                <a:cubicBezTo>
                  <a:pt x="689758" y="1507333"/>
                  <a:pt x="641487" y="1463456"/>
                  <a:pt x="595414" y="1417383"/>
                </a:cubicBezTo>
                <a:cubicBezTo>
                  <a:pt x="272898" y="1094867"/>
                  <a:pt x="58038" y="664695"/>
                  <a:pt x="9362" y="185393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22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CEA8475-23D3-4C3D-B968-465DF7F66BE1}"/>
              </a:ext>
            </a:extLst>
          </p:cNvPr>
          <p:cNvSpPr/>
          <p:nvPr/>
        </p:nvSpPr>
        <p:spPr>
          <a:xfrm>
            <a:off x="6076818" y="3680270"/>
            <a:ext cx="1889222" cy="1889223"/>
          </a:xfrm>
          <a:custGeom>
            <a:avLst/>
            <a:gdLst>
              <a:gd name="connsiteX0" fmla="*/ 0 w 2012795"/>
              <a:gd name="connsiteY0" fmla="*/ 0 h 2012796"/>
              <a:gd name="connsiteX1" fmla="*/ 2012795 w 2012795"/>
              <a:gd name="connsiteY1" fmla="*/ 0 h 2012796"/>
              <a:gd name="connsiteX2" fmla="*/ 2003433 w 2012795"/>
              <a:gd name="connsiteY2" fmla="*/ 185393 h 2012796"/>
              <a:gd name="connsiteX3" fmla="*/ 185392 w 2012795"/>
              <a:gd name="connsiteY3" fmla="*/ 2003434 h 2012796"/>
              <a:gd name="connsiteX4" fmla="*/ 0 w 2012795"/>
              <a:gd name="connsiteY4" fmla="*/ 2012796 h 2012796"/>
              <a:gd name="connsiteX5" fmla="*/ 0 w 2012795"/>
              <a:gd name="connsiteY5" fmla="*/ 0 h 20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12795" h="2012796">
                <a:moveTo>
                  <a:pt x="0" y="0"/>
                </a:moveTo>
                <a:lnTo>
                  <a:pt x="2012795" y="0"/>
                </a:lnTo>
                <a:lnTo>
                  <a:pt x="2003433" y="185393"/>
                </a:lnTo>
                <a:cubicBezTo>
                  <a:pt x="1906082" y="1143995"/>
                  <a:pt x="1143994" y="1906083"/>
                  <a:pt x="185392" y="2003434"/>
                </a:cubicBezTo>
                <a:lnTo>
                  <a:pt x="0" y="201279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AB9688-ADEC-4160-B90E-CCBB1A19D3FE}"/>
              </a:ext>
            </a:extLst>
          </p:cNvPr>
          <p:cNvSpPr txBox="1"/>
          <p:nvPr/>
        </p:nvSpPr>
        <p:spPr>
          <a:xfrm>
            <a:off x="929514" y="1726655"/>
            <a:ext cx="3314079" cy="1323439"/>
          </a:xfrm>
          <a:prstGeom prst="rect">
            <a:avLst/>
          </a:prstGeom>
          <a:noFill/>
        </p:spPr>
        <p:txBody>
          <a:bodyPr wrap="square" lIns="68580" rIns="6858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Leverage technology solutions to replace old school contr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Configure the tool end to end on your process, phase 2 never happe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D4B0B1-053F-4EE7-92AD-9C13E13653CF}"/>
              </a:ext>
            </a:extLst>
          </p:cNvPr>
          <p:cNvSpPr/>
          <p:nvPr/>
        </p:nvSpPr>
        <p:spPr>
          <a:xfrm>
            <a:off x="985945" y="967383"/>
            <a:ext cx="3267452" cy="485229"/>
          </a:xfrm>
          <a:prstGeom prst="rect">
            <a:avLst/>
          </a:prstGeom>
          <a:solidFill>
            <a:srgbClr val="78B9E7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68580" tIns="0" rIns="68580" bIns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prstClr val="white"/>
                </a:solidFill>
                <a:latin typeface="Bogle" panose="020B0503020203060203" pitchFamily="34" charset="0"/>
              </a:rPr>
              <a:t>Process &amp; Policy</a:t>
            </a:r>
            <a:endParaRPr kumimoji="0" lang="en-US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grpSp>
        <p:nvGrpSpPr>
          <p:cNvPr id="16" name="Graphic 89" descr="Users">
            <a:extLst>
              <a:ext uri="{FF2B5EF4-FFF2-40B4-BE49-F238E27FC236}">
                <a16:creationId xmlns:a16="http://schemas.microsoft.com/office/drawing/2014/main" id="{E8902193-FFAF-4E10-8828-1C2FDF80CD5A}"/>
              </a:ext>
            </a:extLst>
          </p:cNvPr>
          <p:cNvGrpSpPr/>
          <p:nvPr/>
        </p:nvGrpSpPr>
        <p:grpSpPr>
          <a:xfrm>
            <a:off x="4591786" y="4459682"/>
            <a:ext cx="515214" cy="397669"/>
            <a:chOff x="10537822" y="3107660"/>
            <a:chExt cx="548913" cy="423680"/>
          </a:xfrm>
          <a:solidFill>
            <a:schemeClr val="bg1"/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E43E43D-90A5-42CC-9F5C-CE0D70CAFA45}"/>
                </a:ext>
              </a:extLst>
            </p:cNvPr>
            <p:cNvSpPr/>
            <p:nvPr/>
          </p:nvSpPr>
          <p:spPr>
            <a:xfrm>
              <a:off x="10597057" y="3107660"/>
              <a:ext cx="118471" cy="111889"/>
            </a:xfrm>
            <a:custGeom>
              <a:avLst/>
              <a:gdLst>
                <a:gd name="connsiteX0" fmla="*/ 118471 w 118470"/>
                <a:gd name="connsiteY0" fmla="*/ 59235 h 111888"/>
                <a:gd name="connsiteX1" fmla="*/ 59235 w 118470"/>
                <a:gd name="connsiteY1" fmla="*/ 118471 h 111888"/>
                <a:gd name="connsiteX2" fmla="*/ 0 w 118470"/>
                <a:gd name="connsiteY2" fmla="*/ 59235 h 111888"/>
                <a:gd name="connsiteX3" fmla="*/ 59235 w 118470"/>
                <a:gd name="connsiteY3" fmla="*/ 0 h 111888"/>
                <a:gd name="connsiteX4" fmla="*/ 118471 w 118470"/>
                <a:gd name="connsiteY4" fmla="*/ 59235 h 11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70" h="111888">
                  <a:moveTo>
                    <a:pt x="118471" y="59235"/>
                  </a:moveTo>
                  <a:cubicBezTo>
                    <a:pt x="118471" y="91950"/>
                    <a:pt x="91950" y="118471"/>
                    <a:pt x="59235" y="118471"/>
                  </a:cubicBezTo>
                  <a:cubicBezTo>
                    <a:pt x="26521" y="118471"/>
                    <a:pt x="0" y="91950"/>
                    <a:pt x="0" y="59235"/>
                  </a:cubicBezTo>
                  <a:cubicBezTo>
                    <a:pt x="0" y="26521"/>
                    <a:pt x="26521" y="0"/>
                    <a:pt x="59235" y="0"/>
                  </a:cubicBezTo>
                  <a:cubicBezTo>
                    <a:pt x="91950" y="0"/>
                    <a:pt x="118471" y="26521"/>
                    <a:pt x="118471" y="59235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F4132B8-D7D1-4CE0-AC3B-145666A90127}"/>
                </a:ext>
              </a:extLst>
            </p:cNvPr>
            <p:cNvSpPr/>
            <p:nvPr/>
          </p:nvSpPr>
          <p:spPr>
            <a:xfrm>
              <a:off x="10912979" y="3107660"/>
              <a:ext cx="118471" cy="111889"/>
            </a:xfrm>
            <a:custGeom>
              <a:avLst/>
              <a:gdLst>
                <a:gd name="connsiteX0" fmla="*/ 118471 w 118470"/>
                <a:gd name="connsiteY0" fmla="*/ 59235 h 111888"/>
                <a:gd name="connsiteX1" fmla="*/ 59235 w 118470"/>
                <a:gd name="connsiteY1" fmla="*/ 118471 h 111888"/>
                <a:gd name="connsiteX2" fmla="*/ 0 w 118470"/>
                <a:gd name="connsiteY2" fmla="*/ 59235 h 111888"/>
                <a:gd name="connsiteX3" fmla="*/ 59235 w 118470"/>
                <a:gd name="connsiteY3" fmla="*/ 0 h 111888"/>
                <a:gd name="connsiteX4" fmla="*/ 118471 w 118470"/>
                <a:gd name="connsiteY4" fmla="*/ 59235 h 11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70" h="111888">
                  <a:moveTo>
                    <a:pt x="118471" y="59235"/>
                  </a:moveTo>
                  <a:cubicBezTo>
                    <a:pt x="118471" y="91950"/>
                    <a:pt x="91950" y="118471"/>
                    <a:pt x="59235" y="118471"/>
                  </a:cubicBezTo>
                  <a:cubicBezTo>
                    <a:pt x="26521" y="118471"/>
                    <a:pt x="0" y="91950"/>
                    <a:pt x="0" y="59235"/>
                  </a:cubicBezTo>
                  <a:cubicBezTo>
                    <a:pt x="0" y="26521"/>
                    <a:pt x="26521" y="0"/>
                    <a:pt x="59235" y="0"/>
                  </a:cubicBezTo>
                  <a:cubicBezTo>
                    <a:pt x="91950" y="0"/>
                    <a:pt x="118471" y="26521"/>
                    <a:pt x="118471" y="59235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D5F1FF-EF14-42E5-8FD9-35C87217FA3C}"/>
                </a:ext>
              </a:extLst>
            </p:cNvPr>
            <p:cNvSpPr/>
            <p:nvPr/>
          </p:nvSpPr>
          <p:spPr>
            <a:xfrm flipV="1">
              <a:off x="10537822" y="3445959"/>
              <a:ext cx="394901" cy="85381"/>
            </a:xfrm>
            <a:custGeom>
              <a:avLst/>
              <a:gdLst>
                <a:gd name="connsiteX0" fmla="*/ 236941 w 236941"/>
                <a:gd name="connsiteY0" fmla="*/ 118471 h 111888"/>
                <a:gd name="connsiteX1" fmla="*/ 236941 w 236941"/>
                <a:gd name="connsiteY1" fmla="*/ 59235 h 111888"/>
                <a:gd name="connsiteX2" fmla="*/ 225094 w 236941"/>
                <a:gd name="connsiteY2" fmla="*/ 35541 h 111888"/>
                <a:gd name="connsiteX3" fmla="*/ 167175 w 236941"/>
                <a:gd name="connsiteY3" fmla="*/ 7898 h 111888"/>
                <a:gd name="connsiteX4" fmla="*/ 118471 w 236941"/>
                <a:gd name="connsiteY4" fmla="*/ 0 h 111888"/>
                <a:gd name="connsiteX5" fmla="*/ 69766 w 236941"/>
                <a:gd name="connsiteY5" fmla="*/ 7898 h 111888"/>
                <a:gd name="connsiteX6" fmla="*/ 11847 w 236941"/>
                <a:gd name="connsiteY6" fmla="*/ 35541 h 111888"/>
                <a:gd name="connsiteX7" fmla="*/ 0 w 236941"/>
                <a:gd name="connsiteY7" fmla="*/ 59235 h 111888"/>
                <a:gd name="connsiteX8" fmla="*/ 0 w 236941"/>
                <a:gd name="connsiteY8" fmla="*/ 118471 h 111888"/>
                <a:gd name="connsiteX9" fmla="*/ 236941 w 236941"/>
                <a:gd name="connsiteY9" fmla="*/ 118471 h 11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6941" h="111888">
                  <a:moveTo>
                    <a:pt x="236941" y="118471"/>
                  </a:moveTo>
                  <a:lnTo>
                    <a:pt x="236941" y="59235"/>
                  </a:lnTo>
                  <a:cubicBezTo>
                    <a:pt x="236941" y="50021"/>
                    <a:pt x="232992" y="40807"/>
                    <a:pt x="225094" y="35541"/>
                  </a:cubicBezTo>
                  <a:cubicBezTo>
                    <a:pt x="209298" y="22378"/>
                    <a:pt x="188237" y="13163"/>
                    <a:pt x="167175" y="7898"/>
                  </a:cubicBezTo>
                  <a:cubicBezTo>
                    <a:pt x="152695" y="3949"/>
                    <a:pt x="135583" y="0"/>
                    <a:pt x="118471" y="0"/>
                  </a:cubicBezTo>
                  <a:cubicBezTo>
                    <a:pt x="102674" y="0"/>
                    <a:pt x="85562" y="2633"/>
                    <a:pt x="69766" y="7898"/>
                  </a:cubicBezTo>
                  <a:cubicBezTo>
                    <a:pt x="48705" y="13163"/>
                    <a:pt x="28959" y="23694"/>
                    <a:pt x="11847" y="35541"/>
                  </a:cubicBezTo>
                  <a:cubicBezTo>
                    <a:pt x="3949" y="42123"/>
                    <a:pt x="0" y="50021"/>
                    <a:pt x="0" y="59235"/>
                  </a:cubicBezTo>
                  <a:lnTo>
                    <a:pt x="0" y="118471"/>
                  </a:lnTo>
                  <a:lnTo>
                    <a:pt x="236941" y="118471"/>
                  </a:ln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88ADCCD-DC8A-4F70-A79C-269823B3A067}"/>
                </a:ext>
              </a:extLst>
            </p:cNvPr>
            <p:cNvSpPr/>
            <p:nvPr/>
          </p:nvSpPr>
          <p:spPr>
            <a:xfrm>
              <a:off x="10755018" y="3199804"/>
              <a:ext cx="118471" cy="118471"/>
            </a:xfrm>
            <a:custGeom>
              <a:avLst/>
              <a:gdLst>
                <a:gd name="connsiteX0" fmla="*/ 118471 w 118470"/>
                <a:gd name="connsiteY0" fmla="*/ 59235 h 118470"/>
                <a:gd name="connsiteX1" fmla="*/ 59235 w 118470"/>
                <a:gd name="connsiteY1" fmla="*/ 118471 h 118470"/>
                <a:gd name="connsiteX2" fmla="*/ 0 w 118470"/>
                <a:gd name="connsiteY2" fmla="*/ 59235 h 118470"/>
                <a:gd name="connsiteX3" fmla="*/ 59235 w 118470"/>
                <a:gd name="connsiteY3" fmla="*/ 0 h 118470"/>
                <a:gd name="connsiteX4" fmla="*/ 118471 w 118470"/>
                <a:gd name="connsiteY4" fmla="*/ 59235 h 11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70" h="118470">
                  <a:moveTo>
                    <a:pt x="118471" y="59235"/>
                  </a:moveTo>
                  <a:cubicBezTo>
                    <a:pt x="118471" y="91950"/>
                    <a:pt x="91950" y="118471"/>
                    <a:pt x="59235" y="118471"/>
                  </a:cubicBezTo>
                  <a:cubicBezTo>
                    <a:pt x="26521" y="118471"/>
                    <a:pt x="0" y="91950"/>
                    <a:pt x="0" y="59235"/>
                  </a:cubicBezTo>
                  <a:cubicBezTo>
                    <a:pt x="0" y="26521"/>
                    <a:pt x="26521" y="0"/>
                    <a:pt x="59235" y="0"/>
                  </a:cubicBezTo>
                  <a:cubicBezTo>
                    <a:pt x="91950" y="0"/>
                    <a:pt x="118471" y="26521"/>
                    <a:pt x="118471" y="59235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25E442B-3892-483A-B5DA-CAFB12C3BA7E}"/>
                </a:ext>
              </a:extLst>
            </p:cNvPr>
            <p:cNvSpPr/>
            <p:nvPr/>
          </p:nvSpPr>
          <p:spPr>
            <a:xfrm>
              <a:off x="10876121" y="3241927"/>
              <a:ext cx="210614" cy="118471"/>
            </a:xfrm>
            <a:custGeom>
              <a:avLst/>
              <a:gdLst>
                <a:gd name="connsiteX0" fmla="*/ 202716 w 210614"/>
                <a:gd name="connsiteY0" fmla="*/ 35541 h 118470"/>
                <a:gd name="connsiteX1" fmla="*/ 144797 w 210614"/>
                <a:gd name="connsiteY1" fmla="*/ 7898 h 118470"/>
                <a:gd name="connsiteX2" fmla="*/ 96093 w 210614"/>
                <a:gd name="connsiteY2" fmla="*/ 0 h 118470"/>
                <a:gd name="connsiteX3" fmla="*/ 47388 w 210614"/>
                <a:gd name="connsiteY3" fmla="*/ 7898 h 118470"/>
                <a:gd name="connsiteX4" fmla="*/ 23694 w 210614"/>
                <a:gd name="connsiteY4" fmla="*/ 17112 h 118470"/>
                <a:gd name="connsiteX5" fmla="*/ 23694 w 210614"/>
                <a:gd name="connsiteY5" fmla="*/ 18429 h 118470"/>
                <a:gd name="connsiteX6" fmla="*/ 0 w 210614"/>
                <a:gd name="connsiteY6" fmla="*/ 76348 h 118470"/>
                <a:gd name="connsiteX7" fmla="*/ 60552 w 210614"/>
                <a:gd name="connsiteY7" fmla="*/ 106624 h 118470"/>
                <a:gd name="connsiteX8" fmla="*/ 71082 w 210614"/>
                <a:gd name="connsiteY8" fmla="*/ 118471 h 118470"/>
                <a:gd name="connsiteX9" fmla="*/ 214563 w 210614"/>
                <a:gd name="connsiteY9" fmla="*/ 118471 h 118470"/>
                <a:gd name="connsiteX10" fmla="*/ 214563 w 210614"/>
                <a:gd name="connsiteY10" fmla="*/ 59235 h 118470"/>
                <a:gd name="connsiteX11" fmla="*/ 202716 w 210614"/>
                <a:gd name="connsiteY11" fmla="*/ 35541 h 11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0614" h="118470">
                  <a:moveTo>
                    <a:pt x="202716" y="35541"/>
                  </a:moveTo>
                  <a:cubicBezTo>
                    <a:pt x="186920" y="22378"/>
                    <a:pt x="165859" y="13163"/>
                    <a:pt x="144797" y="7898"/>
                  </a:cubicBezTo>
                  <a:cubicBezTo>
                    <a:pt x="130318" y="3949"/>
                    <a:pt x="113205" y="0"/>
                    <a:pt x="96093" y="0"/>
                  </a:cubicBezTo>
                  <a:cubicBezTo>
                    <a:pt x="80297" y="0"/>
                    <a:pt x="63184" y="2633"/>
                    <a:pt x="47388" y="7898"/>
                  </a:cubicBezTo>
                  <a:cubicBezTo>
                    <a:pt x="39490" y="10531"/>
                    <a:pt x="31592" y="13163"/>
                    <a:pt x="23694" y="17112"/>
                  </a:cubicBezTo>
                  <a:lnTo>
                    <a:pt x="23694" y="18429"/>
                  </a:lnTo>
                  <a:cubicBezTo>
                    <a:pt x="23694" y="40807"/>
                    <a:pt x="14480" y="61868"/>
                    <a:pt x="0" y="76348"/>
                  </a:cubicBezTo>
                  <a:cubicBezTo>
                    <a:pt x="25010" y="84246"/>
                    <a:pt x="44756" y="94776"/>
                    <a:pt x="60552" y="106624"/>
                  </a:cubicBezTo>
                  <a:cubicBezTo>
                    <a:pt x="64501" y="110573"/>
                    <a:pt x="68450" y="113205"/>
                    <a:pt x="71082" y="118471"/>
                  </a:cubicBezTo>
                  <a:lnTo>
                    <a:pt x="214563" y="118471"/>
                  </a:lnTo>
                  <a:lnTo>
                    <a:pt x="214563" y="59235"/>
                  </a:lnTo>
                  <a:cubicBezTo>
                    <a:pt x="214563" y="50021"/>
                    <a:pt x="210614" y="40807"/>
                    <a:pt x="202716" y="35541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2C6167C-ECD0-49E6-9FFE-FA0879F9751B}"/>
                </a:ext>
              </a:extLst>
            </p:cNvPr>
            <p:cNvSpPr/>
            <p:nvPr/>
          </p:nvSpPr>
          <p:spPr>
            <a:xfrm>
              <a:off x="10537822" y="3241927"/>
              <a:ext cx="210614" cy="118471"/>
            </a:xfrm>
            <a:custGeom>
              <a:avLst/>
              <a:gdLst>
                <a:gd name="connsiteX0" fmla="*/ 154012 w 210614"/>
                <a:gd name="connsiteY0" fmla="*/ 106624 h 118470"/>
                <a:gd name="connsiteX1" fmla="*/ 154012 w 210614"/>
                <a:gd name="connsiteY1" fmla="*/ 106624 h 118470"/>
                <a:gd name="connsiteX2" fmla="*/ 214563 w 210614"/>
                <a:gd name="connsiteY2" fmla="*/ 76348 h 118470"/>
                <a:gd name="connsiteX3" fmla="*/ 190869 w 210614"/>
                <a:gd name="connsiteY3" fmla="*/ 18429 h 118470"/>
                <a:gd name="connsiteX4" fmla="*/ 190869 w 210614"/>
                <a:gd name="connsiteY4" fmla="*/ 15796 h 118470"/>
                <a:gd name="connsiteX5" fmla="*/ 167175 w 210614"/>
                <a:gd name="connsiteY5" fmla="*/ 7898 h 118470"/>
                <a:gd name="connsiteX6" fmla="*/ 118471 w 210614"/>
                <a:gd name="connsiteY6" fmla="*/ 0 h 118470"/>
                <a:gd name="connsiteX7" fmla="*/ 69766 w 210614"/>
                <a:gd name="connsiteY7" fmla="*/ 7898 h 118470"/>
                <a:gd name="connsiteX8" fmla="*/ 11847 w 210614"/>
                <a:gd name="connsiteY8" fmla="*/ 35541 h 118470"/>
                <a:gd name="connsiteX9" fmla="*/ 0 w 210614"/>
                <a:gd name="connsiteY9" fmla="*/ 59235 h 118470"/>
                <a:gd name="connsiteX10" fmla="*/ 0 w 210614"/>
                <a:gd name="connsiteY10" fmla="*/ 118471 h 118470"/>
                <a:gd name="connsiteX11" fmla="*/ 142165 w 210614"/>
                <a:gd name="connsiteY11" fmla="*/ 118471 h 118470"/>
                <a:gd name="connsiteX12" fmla="*/ 154012 w 210614"/>
                <a:gd name="connsiteY12" fmla="*/ 106624 h 11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0614" h="118470">
                  <a:moveTo>
                    <a:pt x="154012" y="106624"/>
                  </a:moveTo>
                  <a:lnTo>
                    <a:pt x="154012" y="106624"/>
                  </a:lnTo>
                  <a:cubicBezTo>
                    <a:pt x="172440" y="93460"/>
                    <a:pt x="193502" y="82929"/>
                    <a:pt x="214563" y="76348"/>
                  </a:cubicBezTo>
                  <a:cubicBezTo>
                    <a:pt x="200084" y="60552"/>
                    <a:pt x="190869" y="40807"/>
                    <a:pt x="190869" y="18429"/>
                  </a:cubicBezTo>
                  <a:cubicBezTo>
                    <a:pt x="190869" y="17112"/>
                    <a:pt x="190869" y="17112"/>
                    <a:pt x="190869" y="15796"/>
                  </a:cubicBezTo>
                  <a:cubicBezTo>
                    <a:pt x="182971" y="13163"/>
                    <a:pt x="175073" y="9214"/>
                    <a:pt x="167175" y="7898"/>
                  </a:cubicBezTo>
                  <a:cubicBezTo>
                    <a:pt x="152695" y="3949"/>
                    <a:pt x="135583" y="0"/>
                    <a:pt x="118471" y="0"/>
                  </a:cubicBezTo>
                  <a:cubicBezTo>
                    <a:pt x="102674" y="0"/>
                    <a:pt x="85562" y="2633"/>
                    <a:pt x="69766" y="7898"/>
                  </a:cubicBezTo>
                  <a:cubicBezTo>
                    <a:pt x="48705" y="14480"/>
                    <a:pt x="28959" y="23694"/>
                    <a:pt x="11847" y="35541"/>
                  </a:cubicBezTo>
                  <a:cubicBezTo>
                    <a:pt x="3949" y="40807"/>
                    <a:pt x="0" y="50021"/>
                    <a:pt x="0" y="59235"/>
                  </a:cubicBezTo>
                  <a:lnTo>
                    <a:pt x="0" y="118471"/>
                  </a:lnTo>
                  <a:lnTo>
                    <a:pt x="142165" y="118471"/>
                  </a:lnTo>
                  <a:cubicBezTo>
                    <a:pt x="146114" y="113205"/>
                    <a:pt x="148746" y="110573"/>
                    <a:pt x="154012" y="106624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6EECCDA-3B21-4D56-84A6-8961F71922F0}"/>
              </a:ext>
            </a:extLst>
          </p:cNvPr>
          <p:cNvSpPr txBox="1"/>
          <p:nvPr/>
        </p:nvSpPr>
        <p:spPr>
          <a:xfrm>
            <a:off x="7980396" y="4115492"/>
            <a:ext cx="3180356" cy="1323439"/>
          </a:xfrm>
          <a:prstGeom prst="rect">
            <a:avLst/>
          </a:prstGeom>
          <a:noFill/>
        </p:spPr>
        <p:txBody>
          <a:bodyPr wrap="square" lIns="68580" rIns="68580" rtlCol="0" anchor="b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Source to Pay is one process, it needs one ow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The organization must change together with system landscape</a:t>
            </a:r>
            <a:endParaRPr lang="en-GB" sz="1600" dirty="0">
              <a:latin typeface="Helvetica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16B3BC-D8B1-44CD-ACF7-6F8F208F7C02}"/>
              </a:ext>
            </a:extLst>
          </p:cNvPr>
          <p:cNvSpPr/>
          <p:nvPr/>
        </p:nvSpPr>
        <p:spPr>
          <a:xfrm>
            <a:off x="7980396" y="5831774"/>
            <a:ext cx="2880643" cy="458146"/>
          </a:xfrm>
          <a:prstGeom prst="rect">
            <a:avLst/>
          </a:prstGeom>
          <a:solidFill>
            <a:schemeClr val="accent6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68580" tIns="0" rIns="6858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prstClr val="white"/>
                </a:solidFill>
                <a:latin typeface="Bogle" panose="020B0503020203060203" pitchFamily="34" charset="0"/>
              </a:rPr>
              <a:t>Operating Model</a:t>
            </a:r>
            <a:endParaRPr kumimoji="0" lang="en-US" b="1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23" name="Graphic 90" descr="Puzzle">
            <a:extLst>
              <a:ext uri="{FF2B5EF4-FFF2-40B4-BE49-F238E27FC236}">
                <a16:creationId xmlns:a16="http://schemas.microsoft.com/office/drawing/2014/main" id="{1A553E8E-02FC-4CB2-BC3A-DADFB3ED08FB}"/>
              </a:ext>
            </a:extLst>
          </p:cNvPr>
          <p:cNvSpPr/>
          <p:nvPr/>
        </p:nvSpPr>
        <p:spPr>
          <a:xfrm>
            <a:off x="7065417" y="4377777"/>
            <a:ext cx="494210" cy="494210"/>
          </a:xfrm>
          <a:custGeom>
            <a:avLst/>
            <a:gdLst>
              <a:gd name="connsiteX0" fmla="*/ 340274 w 526535"/>
              <a:gd name="connsiteY0" fmla="*/ 399509 h 526535"/>
              <a:gd name="connsiteX1" fmla="*/ 311973 w 526535"/>
              <a:gd name="connsiteY1" fmla="*/ 312631 h 526535"/>
              <a:gd name="connsiteX2" fmla="*/ 316580 w 526535"/>
              <a:gd name="connsiteY2" fmla="*/ 308023 h 526535"/>
              <a:gd name="connsiteX3" fmla="*/ 404774 w 526535"/>
              <a:gd name="connsiteY3" fmla="*/ 335008 h 526535"/>
              <a:gd name="connsiteX4" fmla="*/ 451504 w 526535"/>
              <a:gd name="connsiteY4" fmla="*/ 372524 h 526535"/>
              <a:gd name="connsiteX5" fmla="*/ 526536 w 526535"/>
              <a:gd name="connsiteY5" fmla="*/ 297493 h 526535"/>
              <a:gd name="connsiteX6" fmla="*/ 414647 w 526535"/>
              <a:gd name="connsiteY6" fmla="*/ 185604 h 526535"/>
              <a:gd name="connsiteX7" fmla="*/ 452163 w 526535"/>
              <a:gd name="connsiteY7" fmla="*/ 138874 h 526535"/>
              <a:gd name="connsiteX8" fmla="*/ 479148 w 526535"/>
              <a:gd name="connsiteY8" fmla="*/ 50679 h 526535"/>
              <a:gd name="connsiteX9" fmla="*/ 474540 w 526535"/>
              <a:gd name="connsiteY9" fmla="*/ 46072 h 526535"/>
              <a:gd name="connsiteX10" fmla="*/ 387662 w 526535"/>
              <a:gd name="connsiteY10" fmla="*/ 74373 h 526535"/>
              <a:gd name="connsiteX11" fmla="*/ 340932 w 526535"/>
              <a:gd name="connsiteY11" fmla="*/ 111889 h 526535"/>
              <a:gd name="connsiteX12" fmla="*/ 229043 w 526535"/>
              <a:gd name="connsiteY12" fmla="*/ 0 h 526535"/>
              <a:gd name="connsiteX13" fmla="*/ 153354 w 526535"/>
              <a:gd name="connsiteY13" fmla="*/ 75031 h 526535"/>
              <a:gd name="connsiteX14" fmla="*/ 190869 w 526535"/>
              <a:gd name="connsiteY14" fmla="*/ 121761 h 526535"/>
              <a:gd name="connsiteX15" fmla="*/ 219171 w 526535"/>
              <a:gd name="connsiteY15" fmla="*/ 208640 h 526535"/>
              <a:gd name="connsiteX16" fmla="*/ 214563 w 526535"/>
              <a:gd name="connsiteY16" fmla="*/ 213247 h 526535"/>
              <a:gd name="connsiteX17" fmla="*/ 126369 w 526535"/>
              <a:gd name="connsiteY17" fmla="*/ 186262 h 526535"/>
              <a:gd name="connsiteX18" fmla="*/ 79639 w 526535"/>
              <a:gd name="connsiteY18" fmla="*/ 148746 h 526535"/>
              <a:gd name="connsiteX19" fmla="*/ 0 w 526535"/>
              <a:gd name="connsiteY19" fmla="*/ 229043 h 526535"/>
              <a:gd name="connsiteX20" fmla="*/ 111889 w 526535"/>
              <a:gd name="connsiteY20" fmla="*/ 340932 h 526535"/>
              <a:gd name="connsiteX21" fmla="*/ 74373 w 526535"/>
              <a:gd name="connsiteY21" fmla="*/ 387662 h 526535"/>
              <a:gd name="connsiteX22" fmla="*/ 47388 w 526535"/>
              <a:gd name="connsiteY22" fmla="*/ 475857 h 526535"/>
              <a:gd name="connsiteX23" fmla="*/ 51995 w 526535"/>
              <a:gd name="connsiteY23" fmla="*/ 480464 h 526535"/>
              <a:gd name="connsiteX24" fmla="*/ 138874 w 526535"/>
              <a:gd name="connsiteY24" fmla="*/ 452163 h 526535"/>
              <a:gd name="connsiteX25" fmla="*/ 185604 w 526535"/>
              <a:gd name="connsiteY25" fmla="*/ 414647 h 526535"/>
              <a:gd name="connsiteX26" fmla="*/ 297493 w 526535"/>
              <a:gd name="connsiteY26" fmla="*/ 526536 h 526535"/>
              <a:gd name="connsiteX27" fmla="*/ 377789 w 526535"/>
              <a:gd name="connsiteY27" fmla="*/ 446239 h 526535"/>
              <a:gd name="connsiteX28" fmla="*/ 340274 w 526535"/>
              <a:gd name="connsiteY28" fmla="*/ 399509 h 526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26535" h="526535">
                <a:moveTo>
                  <a:pt x="340274" y="399509"/>
                </a:moveTo>
                <a:cubicBezTo>
                  <a:pt x="296835" y="400825"/>
                  <a:pt x="281039" y="344881"/>
                  <a:pt x="311973" y="312631"/>
                </a:cubicBezTo>
                <a:lnTo>
                  <a:pt x="316580" y="308023"/>
                </a:lnTo>
                <a:cubicBezTo>
                  <a:pt x="348830" y="277089"/>
                  <a:pt x="406091" y="291569"/>
                  <a:pt x="404774" y="335008"/>
                </a:cubicBezTo>
                <a:cubicBezTo>
                  <a:pt x="404116" y="360019"/>
                  <a:pt x="433734" y="390295"/>
                  <a:pt x="451504" y="372524"/>
                </a:cubicBezTo>
                <a:lnTo>
                  <a:pt x="526536" y="297493"/>
                </a:lnTo>
                <a:lnTo>
                  <a:pt x="414647" y="185604"/>
                </a:lnTo>
                <a:cubicBezTo>
                  <a:pt x="396876" y="167833"/>
                  <a:pt x="427152" y="138216"/>
                  <a:pt x="452163" y="138874"/>
                </a:cubicBezTo>
                <a:cubicBezTo>
                  <a:pt x="495602" y="140190"/>
                  <a:pt x="510082" y="82929"/>
                  <a:pt x="479148" y="50679"/>
                </a:cubicBezTo>
                <a:lnTo>
                  <a:pt x="474540" y="46072"/>
                </a:lnTo>
                <a:cubicBezTo>
                  <a:pt x="442290" y="15138"/>
                  <a:pt x="386346" y="30934"/>
                  <a:pt x="387662" y="74373"/>
                </a:cubicBezTo>
                <a:cubicBezTo>
                  <a:pt x="388320" y="99384"/>
                  <a:pt x="358703" y="129659"/>
                  <a:pt x="340932" y="111889"/>
                </a:cubicBezTo>
                <a:lnTo>
                  <a:pt x="229043" y="0"/>
                </a:lnTo>
                <a:lnTo>
                  <a:pt x="153354" y="75031"/>
                </a:lnTo>
                <a:cubicBezTo>
                  <a:pt x="135583" y="92802"/>
                  <a:pt x="165859" y="122420"/>
                  <a:pt x="190869" y="121761"/>
                </a:cubicBezTo>
                <a:cubicBezTo>
                  <a:pt x="234308" y="120445"/>
                  <a:pt x="250105" y="176390"/>
                  <a:pt x="219171" y="208640"/>
                </a:cubicBezTo>
                <a:lnTo>
                  <a:pt x="214563" y="213247"/>
                </a:lnTo>
                <a:cubicBezTo>
                  <a:pt x="182313" y="244181"/>
                  <a:pt x="125052" y="229701"/>
                  <a:pt x="126369" y="186262"/>
                </a:cubicBezTo>
                <a:cubicBezTo>
                  <a:pt x="127027" y="161252"/>
                  <a:pt x="97409" y="130976"/>
                  <a:pt x="79639" y="148746"/>
                </a:cubicBezTo>
                <a:lnTo>
                  <a:pt x="0" y="229043"/>
                </a:lnTo>
                <a:lnTo>
                  <a:pt x="111889" y="340932"/>
                </a:lnTo>
                <a:cubicBezTo>
                  <a:pt x="129659" y="358703"/>
                  <a:pt x="99384" y="388320"/>
                  <a:pt x="74373" y="387662"/>
                </a:cubicBezTo>
                <a:cubicBezTo>
                  <a:pt x="30934" y="386346"/>
                  <a:pt x="16454" y="443606"/>
                  <a:pt x="47388" y="475857"/>
                </a:cubicBezTo>
                <a:lnTo>
                  <a:pt x="51995" y="480464"/>
                </a:lnTo>
                <a:cubicBezTo>
                  <a:pt x="84246" y="511398"/>
                  <a:pt x="140190" y="495602"/>
                  <a:pt x="138874" y="452163"/>
                </a:cubicBezTo>
                <a:cubicBezTo>
                  <a:pt x="138216" y="427152"/>
                  <a:pt x="167833" y="396876"/>
                  <a:pt x="185604" y="414647"/>
                </a:cubicBezTo>
                <a:lnTo>
                  <a:pt x="297493" y="526536"/>
                </a:lnTo>
                <a:lnTo>
                  <a:pt x="377789" y="446239"/>
                </a:lnTo>
                <a:cubicBezTo>
                  <a:pt x="395560" y="428469"/>
                  <a:pt x="365942" y="398851"/>
                  <a:pt x="340274" y="39950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548" cap="flat">
            <a:noFill/>
            <a:prstDash val="solid"/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4F60B3-4AE7-4D3F-A792-CBFD31EBEBF1}"/>
              </a:ext>
            </a:extLst>
          </p:cNvPr>
          <p:cNvSpPr txBox="1"/>
          <p:nvPr/>
        </p:nvSpPr>
        <p:spPr>
          <a:xfrm>
            <a:off x="7980396" y="1639653"/>
            <a:ext cx="3025710" cy="1077218"/>
          </a:xfrm>
          <a:prstGeom prst="rect">
            <a:avLst/>
          </a:prstGeom>
          <a:noFill/>
        </p:spPr>
        <p:txBody>
          <a:bodyPr wrap="square" lIns="68580" rIns="68580" rtlCol="0" anchor="b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Data quality: rubbish in is still rubbish out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gle" panose="020B0503020203060203" pitchFamily="34" charset="0"/>
              </a:rPr>
              <a:t>Some of this rubbish data is now 25 years ol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B7F1EA9-5EA3-493B-994A-D777221C2D3B}"/>
              </a:ext>
            </a:extLst>
          </p:cNvPr>
          <p:cNvSpPr/>
          <p:nvPr/>
        </p:nvSpPr>
        <p:spPr>
          <a:xfrm>
            <a:off x="8035220" y="964029"/>
            <a:ext cx="2825820" cy="458146"/>
          </a:xfrm>
          <a:prstGeom prst="rect">
            <a:avLst/>
          </a:prstGeom>
          <a:solidFill>
            <a:srgbClr val="76C043"/>
          </a:solidFill>
          <a:ln>
            <a:solidFill>
              <a:srgbClr val="76C043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68580" tIns="0" rIns="6858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rPr>
              <a:t>Data</a:t>
            </a:r>
          </a:p>
        </p:txBody>
      </p:sp>
      <p:grpSp>
        <p:nvGrpSpPr>
          <p:cNvPr id="24" name="Graphic 91" descr="Lightbulb">
            <a:extLst>
              <a:ext uri="{FF2B5EF4-FFF2-40B4-BE49-F238E27FC236}">
                <a16:creationId xmlns:a16="http://schemas.microsoft.com/office/drawing/2014/main" id="{D6F852CE-168A-488B-9C42-A97CB83E99C1}"/>
              </a:ext>
            </a:extLst>
          </p:cNvPr>
          <p:cNvGrpSpPr/>
          <p:nvPr/>
        </p:nvGrpSpPr>
        <p:grpSpPr>
          <a:xfrm>
            <a:off x="6970193" y="2380300"/>
            <a:ext cx="593052" cy="593052"/>
            <a:chOff x="1329562" y="5367429"/>
            <a:chExt cx="631843" cy="631843"/>
          </a:xfrm>
          <a:solidFill>
            <a:srgbClr val="FFFFFF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2010E93-A666-447F-BD7D-A29808473361}"/>
                </a:ext>
              </a:extLst>
            </p:cNvPr>
            <p:cNvSpPr/>
            <p:nvPr/>
          </p:nvSpPr>
          <p:spPr>
            <a:xfrm>
              <a:off x="1559921" y="5788658"/>
              <a:ext cx="171124" cy="39490"/>
            </a:xfrm>
            <a:custGeom>
              <a:avLst/>
              <a:gdLst>
                <a:gd name="connsiteX0" fmla="*/ 19745 w 171124"/>
                <a:gd name="connsiteY0" fmla="*/ 0 h 39490"/>
                <a:gd name="connsiteX1" fmla="*/ 151379 w 171124"/>
                <a:gd name="connsiteY1" fmla="*/ 0 h 39490"/>
                <a:gd name="connsiteX2" fmla="*/ 171124 w 171124"/>
                <a:gd name="connsiteY2" fmla="*/ 19745 h 39490"/>
                <a:gd name="connsiteX3" fmla="*/ 151379 w 171124"/>
                <a:gd name="connsiteY3" fmla="*/ 39490 h 39490"/>
                <a:gd name="connsiteX4" fmla="*/ 19745 w 171124"/>
                <a:gd name="connsiteY4" fmla="*/ 39490 h 39490"/>
                <a:gd name="connsiteX5" fmla="*/ 0 w 171124"/>
                <a:gd name="connsiteY5" fmla="*/ 19745 h 39490"/>
                <a:gd name="connsiteX6" fmla="*/ 19745 w 171124"/>
                <a:gd name="connsiteY6" fmla="*/ 0 h 3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124" h="39490">
                  <a:moveTo>
                    <a:pt x="19745" y="0"/>
                  </a:moveTo>
                  <a:lnTo>
                    <a:pt x="151379" y="0"/>
                  </a:lnTo>
                  <a:cubicBezTo>
                    <a:pt x="162568" y="0"/>
                    <a:pt x="171124" y="8556"/>
                    <a:pt x="171124" y="19745"/>
                  </a:cubicBezTo>
                  <a:cubicBezTo>
                    <a:pt x="171124" y="30934"/>
                    <a:pt x="162568" y="39490"/>
                    <a:pt x="151379" y="39490"/>
                  </a:cubicBezTo>
                  <a:lnTo>
                    <a:pt x="19745" y="39490"/>
                  </a:lnTo>
                  <a:cubicBezTo>
                    <a:pt x="8556" y="39490"/>
                    <a:pt x="0" y="30934"/>
                    <a:pt x="0" y="19745"/>
                  </a:cubicBezTo>
                  <a:cubicBezTo>
                    <a:pt x="0" y="8556"/>
                    <a:pt x="8556" y="0"/>
                    <a:pt x="19745" y="0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4419B1B-065A-4A34-96E8-30CF560456B8}"/>
                </a:ext>
              </a:extLst>
            </p:cNvPr>
            <p:cNvSpPr/>
            <p:nvPr/>
          </p:nvSpPr>
          <p:spPr>
            <a:xfrm>
              <a:off x="1559921" y="5854475"/>
              <a:ext cx="171124" cy="39490"/>
            </a:xfrm>
            <a:custGeom>
              <a:avLst/>
              <a:gdLst>
                <a:gd name="connsiteX0" fmla="*/ 19745 w 171124"/>
                <a:gd name="connsiteY0" fmla="*/ 0 h 39490"/>
                <a:gd name="connsiteX1" fmla="*/ 151379 w 171124"/>
                <a:gd name="connsiteY1" fmla="*/ 0 h 39490"/>
                <a:gd name="connsiteX2" fmla="*/ 171124 w 171124"/>
                <a:gd name="connsiteY2" fmla="*/ 19745 h 39490"/>
                <a:gd name="connsiteX3" fmla="*/ 151379 w 171124"/>
                <a:gd name="connsiteY3" fmla="*/ 39490 h 39490"/>
                <a:gd name="connsiteX4" fmla="*/ 19745 w 171124"/>
                <a:gd name="connsiteY4" fmla="*/ 39490 h 39490"/>
                <a:gd name="connsiteX5" fmla="*/ 0 w 171124"/>
                <a:gd name="connsiteY5" fmla="*/ 19745 h 39490"/>
                <a:gd name="connsiteX6" fmla="*/ 19745 w 171124"/>
                <a:gd name="connsiteY6" fmla="*/ 0 h 3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124" h="39490">
                  <a:moveTo>
                    <a:pt x="19745" y="0"/>
                  </a:moveTo>
                  <a:lnTo>
                    <a:pt x="151379" y="0"/>
                  </a:lnTo>
                  <a:cubicBezTo>
                    <a:pt x="162568" y="0"/>
                    <a:pt x="171124" y="8556"/>
                    <a:pt x="171124" y="19745"/>
                  </a:cubicBezTo>
                  <a:cubicBezTo>
                    <a:pt x="171124" y="30934"/>
                    <a:pt x="162568" y="39490"/>
                    <a:pt x="151379" y="39490"/>
                  </a:cubicBezTo>
                  <a:lnTo>
                    <a:pt x="19745" y="39490"/>
                  </a:lnTo>
                  <a:cubicBezTo>
                    <a:pt x="8556" y="39490"/>
                    <a:pt x="0" y="30934"/>
                    <a:pt x="0" y="19745"/>
                  </a:cubicBezTo>
                  <a:cubicBezTo>
                    <a:pt x="0" y="8556"/>
                    <a:pt x="8556" y="0"/>
                    <a:pt x="19745" y="0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5DF7CF1-692D-4D0A-93FB-F710073EDCB3}"/>
                </a:ext>
              </a:extLst>
            </p:cNvPr>
            <p:cNvSpPr/>
            <p:nvPr/>
          </p:nvSpPr>
          <p:spPr>
            <a:xfrm>
              <a:off x="1602702" y="5920292"/>
              <a:ext cx="85562" cy="39490"/>
            </a:xfrm>
            <a:custGeom>
              <a:avLst/>
              <a:gdLst>
                <a:gd name="connsiteX0" fmla="*/ 0 w 85562"/>
                <a:gd name="connsiteY0" fmla="*/ 0 h 39490"/>
                <a:gd name="connsiteX1" fmla="*/ 42781 w 85562"/>
                <a:gd name="connsiteY1" fmla="*/ 39490 h 39490"/>
                <a:gd name="connsiteX2" fmla="*/ 85562 w 85562"/>
                <a:gd name="connsiteY2" fmla="*/ 0 h 39490"/>
                <a:gd name="connsiteX3" fmla="*/ 0 w 85562"/>
                <a:gd name="connsiteY3" fmla="*/ 0 h 3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562" h="39490">
                  <a:moveTo>
                    <a:pt x="0" y="0"/>
                  </a:moveTo>
                  <a:cubicBezTo>
                    <a:pt x="1975" y="22378"/>
                    <a:pt x="20403" y="39490"/>
                    <a:pt x="42781" y="39490"/>
                  </a:cubicBezTo>
                  <a:cubicBezTo>
                    <a:pt x="65159" y="39490"/>
                    <a:pt x="83588" y="22378"/>
                    <a:pt x="85562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718C897-CA96-482B-AFF2-74498ED70E61}"/>
                </a:ext>
              </a:extLst>
            </p:cNvPr>
            <p:cNvSpPr/>
            <p:nvPr/>
          </p:nvSpPr>
          <p:spPr>
            <a:xfrm>
              <a:off x="1474359" y="5406919"/>
              <a:ext cx="342248" cy="355412"/>
            </a:xfrm>
            <a:custGeom>
              <a:avLst/>
              <a:gdLst>
                <a:gd name="connsiteX0" fmla="*/ 171124 w 342248"/>
                <a:gd name="connsiteY0" fmla="*/ 0 h 355411"/>
                <a:gd name="connsiteX1" fmla="*/ 171124 w 342248"/>
                <a:gd name="connsiteY1" fmla="*/ 0 h 355411"/>
                <a:gd name="connsiteX2" fmla="*/ 171124 w 342248"/>
                <a:gd name="connsiteY2" fmla="*/ 0 h 355411"/>
                <a:gd name="connsiteX3" fmla="*/ 0 w 342248"/>
                <a:gd name="connsiteY3" fmla="*/ 169150 h 355411"/>
                <a:gd name="connsiteX4" fmla="*/ 0 w 342248"/>
                <a:gd name="connsiteY4" fmla="*/ 175073 h 355411"/>
                <a:gd name="connsiteX5" fmla="*/ 11847 w 342248"/>
                <a:gd name="connsiteY5" fmla="*/ 234308 h 355411"/>
                <a:gd name="connsiteX6" fmla="*/ 41465 w 342248"/>
                <a:gd name="connsiteY6" fmla="*/ 283013 h 355411"/>
                <a:gd name="connsiteX7" fmla="*/ 81613 w 342248"/>
                <a:gd name="connsiteY7" fmla="*/ 348172 h 355411"/>
                <a:gd name="connsiteX8" fmla="*/ 93460 w 342248"/>
                <a:gd name="connsiteY8" fmla="*/ 355412 h 355411"/>
                <a:gd name="connsiteX9" fmla="*/ 248788 w 342248"/>
                <a:gd name="connsiteY9" fmla="*/ 355412 h 355411"/>
                <a:gd name="connsiteX10" fmla="*/ 260635 w 342248"/>
                <a:gd name="connsiteY10" fmla="*/ 348172 h 355411"/>
                <a:gd name="connsiteX11" fmla="*/ 300784 w 342248"/>
                <a:gd name="connsiteY11" fmla="*/ 283013 h 355411"/>
                <a:gd name="connsiteX12" fmla="*/ 330401 w 342248"/>
                <a:gd name="connsiteY12" fmla="*/ 234308 h 355411"/>
                <a:gd name="connsiteX13" fmla="*/ 342248 w 342248"/>
                <a:gd name="connsiteY13" fmla="*/ 175073 h 355411"/>
                <a:gd name="connsiteX14" fmla="*/ 342248 w 342248"/>
                <a:gd name="connsiteY14" fmla="*/ 169150 h 355411"/>
                <a:gd name="connsiteX15" fmla="*/ 171124 w 342248"/>
                <a:gd name="connsiteY15" fmla="*/ 0 h 355411"/>
                <a:gd name="connsiteX16" fmla="*/ 302758 w 342248"/>
                <a:gd name="connsiteY16" fmla="*/ 174415 h 355411"/>
                <a:gd name="connsiteX17" fmla="*/ 293544 w 342248"/>
                <a:gd name="connsiteY17" fmla="*/ 220487 h 355411"/>
                <a:gd name="connsiteX18" fmla="*/ 271166 w 342248"/>
                <a:gd name="connsiteY18" fmla="*/ 256686 h 355411"/>
                <a:gd name="connsiteX19" fmla="*/ 232992 w 342248"/>
                <a:gd name="connsiteY19" fmla="*/ 315922 h 355411"/>
                <a:gd name="connsiteX20" fmla="*/ 171124 w 342248"/>
                <a:gd name="connsiteY20" fmla="*/ 315922 h 355411"/>
                <a:gd name="connsiteX21" fmla="*/ 109914 w 342248"/>
                <a:gd name="connsiteY21" fmla="*/ 315922 h 355411"/>
                <a:gd name="connsiteX22" fmla="*/ 71741 w 342248"/>
                <a:gd name="connsiteY22" fmla="*/ 256686 h 355411"/>
                <a:gd name="connsiteX23" fmla="*/ 49363 w 342248"/>
                <a:gd name="connsiteY23" fmla="*/ 220487 h 355411"/>
                <a:gd name="connsiteX24" fmla="*/ 40148 w 342248"/>
                <a:gd name="connsiteY24" fmla="*/ 174415 h 355411"/>
                <a:gd name="connsiteX25" fmla="*/ 40148 w 342248"/>
                <a:gd name="connsiteY25" fmla="*/ 169150 h 355411"/>
                <a:gd name="connsiteX26" fmla="*/ 171782 w 342248"/>
                <a:gd name="connsiteY26" fmla="*/ 38832 h 355411"/>
                <a:gd name="connsiteX27" fmla="*/ 171782 w 342248"/>
                <a:gd name="connsiteY27" fmla="*/ 38832 h 355411"/>
                <a:gd name="connsiteX28" fmla="*/ 171782 w 342248"/>
                <a:gd name="connsiteY28" fmla="*/ 38832 h 355411"/>
                <a:gd name="connsiteX29" fmla="*/ 171782 w 342248"/>
                <a:gd name="connsiteY29" fmla="*/ 38832 h 355411"/>
                <a:gd name="connsiteX30" fmla="*/ 171782 w 342248"/>
                <a:gd name="connsiteY30" fmla="*/ 38832 h 355411"/>
                <a:gd name="connsiteX31" fmla="*/ 171782 w 342248"/>
                <a:gd name="connsiteY31" fmla="*/ 38832 h 355411"/>
                <a:gd name="connsiteX32" fmla="*/ 171782 w 342248"/>
                <a:gd name="connsiteY32" fmla="*/ 38832 h 355411"/>
                <a:gd name="connsiteX33" fmla="*/ 303416 w 342248"/>
                <a:gd name="connsiteY33" fmla="*/ 169150 h 355411"/>
                <a:gd name="connsiteX34" fmla="*/ 303416 w 342248"/>
                <a:gd name="connsiteY34" fmla="*/ 174415 h 35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42248" h="355411">
                  <a:moveTo>
                    <a:pt x="171124" y="0"/>
                  </a:moveTo>
                  <a:cubicBezTo>
                    <a:pt x="171124" y="0"/>
                    <a:pt x="171124" y="0"/>
                    <a:pt x="171124" y="0"/>
                  </a:cubicBezTo>
                  <a:cubicBezTo>
                    <a:pt x="171124" y="0"/>
                    <a:pt x="171124" y="0"/>
                    <a:pt x="171124" y="0"/>
                  </a:cubicBezTo>
                  <a:cubicBezTo>
                    <a:pt x="77664" y="658"/>
                    <a:pt x="1975" y="75690"/>
                    <a:pt x="0" y="169150"/>
                  </a:cubicBezTo>
                  <a:lnTo>
                    <a:pt x="0" y="175073"/>
                  </a:lnTo>
                  <a:cubicBezTo>
                    <a:pt x="658" y="195476"/>
                    <a:pt x="4607" y="215222"/>
                    <a:pt x="11847" y="234308"/>
                  </a:cubicBezTo>
                  <a:cubicBezTo>
                    <a:pt x="19087" y="252079"/>
                    <a:pt x="28959" y="268533"/>
                    <a:pt x="41465" y="283013"/>
                  </a:cubicBezTo>
                  <a:cubicBezTo>
                    <a:pt x="57261" y="300125"/>
                    <a:pt x="74373" y="333692"/>
                    <a:pt x="81613" y="348172"/>
                  </a:cubicBezTo>
                  <a:cubicBezTo>
                    <a:pt x="83588" y="352779"/>
                    <a:pt x="88195" y="355412"/>
                    <a:pt x="93460" y="355412"/>
                  </a:cubicBezTo>
                  <a:lnTo>
                    <a:pt x="248788" y="355412"/>
                  </a:lnTo>
                  <a:cubicBezTo>
                    <a:pt x="254054" y="355412"/>
                    <a:pt x="258661" y="352779"/>
                    <a:pt x="260635" y="348172"/>
                  </a:cubicBezTo>
                  <a:cubicBezTo>
                    <a:pt x="267875" y="333692"/>
                    <a:pt x="284988" y="300125"/>
                    <a:pt x="300784" y="283013"/>
                  </a:cubicBezTo>
                  <a:cubicBezTo>
                    <a:pt x="313289" y="268533"/>
                    <a:pt x="323820" y="252079"/>
                    <a:pt x="330401" y="234308"/>
                  </a:cubicBezTo>
                  <a:cubicBezTo>
                    <a:pt x="337641" y="215222"/>
                    <a:pt x="341590" y="195476"/>
                    <a:pt x="342248" y="175073"/>
                  </a:cubicBezTo>
                  <a:lnTo>
                    <a:pt x="342248" y="169150"/>
                  </a:lnTo>
                  <a:cubicBezTo>
                    <a:pt x="340274" y="75690"/>
                    <a:pt x="264584" y="658"/>
                    <a:pt x="171124" y="0"/>
                  </a:cubicBezTo>
                  <a:close/>
                  <a:moveTo>
                    <a:pt x="302758" y="174415"/>
                  </a:moveTo>
                  <a:cubicBezTo>
                    <a:pt x="302100" y="190211"/>
                    <a:pt x="298809" y="206007"/>
                    <a:pt x="293544" y="220487"/>
                  </a:cubicBezTo>
                  <a:cubicBezTo>
                    <a:pt x="288278" y="233650"/>
                    <a:pt x="281038" y="246156"/>
                    <a:pt x="271166" y="256686"/>
                  </a:cubicBezTo>
                  <a:cubicBezTo>
                    <a:pt x="256028" y="275115"/>
                    <a:pt x="242865" y="294860"/>
                    <a:pt x="232992" y="315922"/>
                  </a:cubicBezTo>
                  <a:lnTo>
                    <a:pt x="171124" y="315922"/>
                  </a:lnTo>
                  <a:lnTo>
                    <a:pt x="109914" y="315922"/>
                  </a:lnTo>
                  <a:cubicBezTo>
                    <a:pt x="99384" y="294860"/>
                    <a:pt x="86220" y="275115"/>
                    <a:pt x="71741" y="256686"/>
                  </a:cubicBezTo>
                  <a:cubicBezTo>
                    <a:pt x="62526" y="246156"/>
                    <a:pt x="54628" y="233650"/>
                    <a:pt x="49363" y="220487"/>
                  </a:cubicBezTo>
                  <a:cubicBezTo>
                    <a:pt x="43439" y="206007"/>
                    <a:pt x="40807" y="190211"/>
                    <a:pt x="40148" y="174415"/>
                  </a:cubicBezTo>
                  <a:lnTo>
                    <a:pt x="40148" y="169150"/>
                  </a:lnTo>
                  <a:cubicBezTo>
                    <a:pt x="41465" y="97409"/>
                    <a:pt x="100042" y="39490"/>
                    <a:pt x="171782" y="38832"/>
                  </a:cubicBezTo>
                  <a:lnTo>
                    <a:pt x="171782" y="38832"/>
                  </a:lnTo>
                  <a:lnTo>
                    <a:pt x="171782" y="38832"/>
                  </a:lnTo>
                  <a:cubicBezTo>
                    <a:pt x="171782" y="38832"/>
                    <a:pt x="171782" y="38832"/>
                    <a:pt x="171782" y="38832"/>
                  </a:cubicBezTo>
                  <a:cubicBezTo>
                    <a:pt x="171782" y="38832"/>
                    <a:pt x="171782" y="38832"/>
                    <a:pt x="171782" y="38832"/>
                  </a:cubicBezTo>
                  <a:lnTo>
                    <a:pt x="171782" y="38832"/>
                  </a:lnTo>
                  <a:lnTo>
                    <a:pt x="171782" y="38832"/>
                  </a:lnTo>
                  <a:cubicBezTo>
                    <a:pt x="243523" y="39490"/>
                    <a:pt x="302100" y="96751"/>
                    <a:pt x="303416" y="169150"/>
                  </a:cubicBezTo>
                  <a:lnTo>
                    <a:pt x="303416" y="174415"/>
                  </a:ln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79C1B0B-9568-4F9A-90D6-0F3115DED434}"/>
              </a:ext>
            </a:extLst>
          </p:cNvPr>
          <p:cNvSpPr txBox="1"/>
          <p:nvPr/>
        </p:nvSpPr>
        <p:spPr>
          <a:xfrm>
            <a:off x="771106" y="4150871"/>
            <a:ext cx="3905650" cy="1569660"/>
          </a:xfrm>
          <a:prstGeom prst="rect">
            <a:avLst/>
          </a:prstGeom>
          <a:noFill/>
        </p:spPr>
        <p:txBody>
          <a:bodyPr wrap="square" lIns="68580" rIns="6858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Digital COE skills nee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Front Office: Communication &amp; Relationship </a:t>
            </a:r>
            <a:r>
              <a:rPr lang="en-US" sz="1600" dirty="0" err="1">
                <a:latin typeface="Helvetica" pitchFamily="2" charset="0"/>
              </a:rPr>
              <a:t>mgmt</a:t>
            </a:r>
            <a:r>
              <a:rPr lang="en-US" sz="1600" dirty="0">
                <a:latin typeface="Helvetica" pitchFamily="2" charset="0"/>
              </a:rPr>
              <a:t>, Project </a:t>
            </a:r>
            <a:r>
              <a:rPr lang="en-US" sz="1600" dirty="0" err="1">
                <a:latin typeface="Helvetica" pitchFamily="2" charset="0"/>
              </a:rPr>
              <a:t>mgmt</a:t>
            </a:r>
            <a:r>
              <a:rPr lang="en-US" sz="1600" dirty="0">
                <a:latin typeface="Helvetica" pitchFamily="2" charset="0"/>
              </a:rPr>
              <a:t> skil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Middle office: data scientist &amp; Analytics, digital sol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Helvetica" pitchFamily="2" charset="0"/>
              </a:rPr>
              <a:t>Back office: lean and chat bot skill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5DDFD7-48AC-4C2F-88E9-601C937EBA33}"/>
              </a:ext>
            </a:extLst>
          </p:cNvPr>
          <p:cNvSpPr/>
          <p:nvPr/>
        </p:nvSpPr>
        <p:spPr>
          <a:xfrm>
            <a:off x="983706" y="5831774"/>
            <a:ext cx="3265657" cy="458146"/>
          </a:xfrm>
          <a:prstGeom prst="rect">
            <a:avLst/>
          </a:prstGeom>
          <a:solidFill>
            <a:srgbClr val="FFC22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68580" tIns="0" rIns="6858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cap="all" dirty="0">
                <a:solidFill>
                  <a:schemeClr val="bg1"/>
                </a:solidFill>
                <a:latin typeface="Bogle" panose="020B0503020203060203" pitchFamily="34" charset="0"/>
              </a:rPr>
              <a:t>People</a:t>
            </a:r>
            <a:endParaRPr kumimoji="0" lang="en-US" b="1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grpSp>
        <p:nvGrpSpPr>
          <p:cNvPr id="29" name="Graphic 92" descr="Rocket">
            <a:extLst>
              <a:ext uri="{FF2B5EF4-FFF2-40B4-BE49-F238E27FC236}">
                <a16:creationId xmlns:a16="http://schemas.microsoft.com/office/drawing/2014/main" id="{A8027E10-F80D-4765-9584-BAA7F481EB09}"/>
              </a:ext>
            </a:extLst>
          </p:cNvPr>
          <p:cNvGrpSpPr/>
          <p:nvPr/>
        </p:nvGrpSpPr>
        <p:grpSpPr>
          <a:xfrm>
            <a:off x="4541767" y="2450942"/>
            <a:ext cx="495405" cy="495009"/>
            <a:chOff x="1389597" y="2848958"/>
            <a:chExt cx="527809" cy="527387"/>
          </a:xfrm>
          <a:solidFill>
            <a:srgbClr val="FFFFFF"/>
          </a:solidFill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6CDD94F8-C1FB-4683-B07A-B01F5F96301F}"/>
                </a:ext>
              </a:extLst>
            </p:cNvPr>
            <p:cNvSpPr/>
            <p:nvPr/>
          </p:nvSpPr>
          <p:spPr>
            <a:xfrm>
              <a:off x="1798935" y="2848958"/>
              <a:ext cx="118471" cy="111889"/>
            </a:xfrm>
            <a:custGeom>
              <a:avLst/>
              <a:gdLst>
                <a:gd name="connsiteX0" fmla="*/ 117812 w 118470"/>
                <a:gd name="connsiteY0" fmla="*/ 3484 h 111888"/>
                <a:gd name="connsiteX1" fmla="*/ 0 w 118470"/>
                <a:gd name="connsiteY1" fmla="*/ 17964 h 111888"/>
                <a:gd name="connsiteX2" fmla="*/ 53970 w 118470"/>
                <a:gd name="connsiteY2" fmla="*/ 60745 h 111888"/>
                <a:gd name="connsiteX3" fmla="*/ 97409 w 118470"/>
                <a:gd name="connsiteY3" fmla="*/ 116031 h 111888"/>
                <a:gd name="connsiteX4" fmla="*/ 117812 w 118470"/>
                <a:gd name="connsiteY4" fmla="*/ 3484 h 111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70" h="111888">
                  <a:moveTo>
                    <a:pt x="117812" y="3484"/>
                  </a:moveTo>
                  <a:cubicBezTo>
                    <a:pt x="108598" y="-5730"/>
                    <a:pt x="49363" y="4801"/>
                    <a:pt x="0" y="17964"/>
                  </a:cubicBezTo>
                  <a:cubicBezTo>
                    <a:pt x="17771" y="28495"/>
                    <a:pt x="36199" y="42974"/>
                    <a:pt x="53970" y="60745"/>
                  </a:cubicBezTo>
                  <a:cubicBezTo>
                    <a:pt x="72399" y="79174"/>
                    <a:pt x="86878" y="97602"/>
                    <a:pt x="97409" y="116031"/>
                  </a:cubicBezTo>
                  <a:cubicBezTo>
                    <a:pt x="110572" y="65352"/>
                    <a:pt x="127685" y="12699"/>
                    <a:pt x="117812" y="3484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D2ED4C7-3693-4D6C-8DF8-81FF6003A180}"/>
                </a:ext>
              </a:extLst>
            </p:cNvPr>
            <p:cNvSpPr/>
            <p:nvPr/>
          </p:nvSpPr>
          <p:spPr>
            <a:xfrm>
              <a:off x="1389597" y="3029901"/>
              <a:ext cx="157961" cy="151379"/>
            </a:xfrm>
            <a:custGeom>
              <a:avLst/>
              <a:gdLst>
                <a:gd name="connsiteX0" fmla="*/ 160549 w 157960"/>
                <a:gd name="connsiteY0" fmla="*/ 10120 h 151379"/>
                <a:gd name="connsiteX1" fmla="*/ 138171 w 157960"/>
                <a:gd name="connsiteY1" fmla="*/ 1563 h 151379"/>
                <a:gd name="connsiteX2" fmla="*/ 111844 w 157960"/>
                <a:gd name="connsiteY2" fmla="*/ 6829 h 151379"/>
                <a:gd name="connsiteX3" fmla="*/ 7195 w 157960"/>
                <a:gd name="connsiteY3" fmla="*/ 111478 h 151379"/>
                <a:gd name="connsiteX4" fmla="*/ 29573 w 157960"/>
                <a:gd name="connsiteY4" fmla="*/ 152942 h 151379"/>
                <a:gd name="connsiteX5" fmla="*/ 117110 w 157960"/>
                <a:gd name="connsiteY5" fmla="*/ 133197 h 151379"/>
                <a:gd name="connsiteX6" fmla="*/ 160549 w 157960"/>
                <a:gd name="connsiteY6" fmla="*/ 10120 h 151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960" h="151379">
                  <a:moveTo>
                    <a:pt x="160549" y="10120"/>
                  </a:moveTo>
                  <a:lnTo>
                    <a:pt x="138171" y="1563"/>
                  </a:lnTo>
                  <a:cubicBezTo>
                    <a:pt x="128957" y="-1728"/>
                    <a:pt x="119084" y="247"/>
                    <a:pt x="111844" y="6829"/>
                  </a:cubicBezTo>
                  <a:lnTo>
                    <a:pt x="7195" y="111478"/>
                  </a:lnTo>
                  <a:cubicBezTo>
                    <a:pt x="-9917" y="128590"/>
                    <a:pt x="5879" y="158208"/>
                    <a:pt x="29573" y="152942"/>
                  </a:cubicBezTo>
                  <a:lnTo>
                    <a:pt x="117110" y="133197"/>
                  </a:lnTo>
                  <a:cubicBezTo>
                    <a:pt x="124350" y="100289"/>
                    <a:pt x="136197" y="56191"/>
                    <a:pt x="160549" y="10120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FBBB8BE-5612-44EA-9747-68BC2F1F2AEE}"/>
                </a:ext>
              </a:extLst>
            </p:cNvPr>
            <p:cNvSpPr/>
            <p:nvPr/>
          </p:nvSpPr>
          <p:spPr>
            <a:xfrm>
              <a:off x="1583083" y="3211803"/>
              <a:ext cx="151379" cy="164542"/>
            </a:xfrm>
            <a:custGeom>
              <a:avLst/>
              <a:gdLst>
                <a:gd name="connsiteX0" fmla="*/ 141478 w 151379"/>
                <a:gd name="connsiteY0" fmla="*/ 0 h 164542"/>
                <a:gd name="connsiteX1" fmla="*/ 21033 w 151379"/>
                <a:gd name="connsiteY1" fmla="*/ 42123 h 164542"/>
                <a:gd name="connsiteX2" fmla="*/ 630 w 151379"/>
                <a:gd name="connsiteY2" fmla="*/ 135583 h 164542"/>
                <a:gd name="connsiteX3" fmla="*/ 42095 w 151379"/>
                <a:gd name="connsiteY3" fmla="*/ 157961 h 164542"/>
                <a:gd name="connsiteX4" fmla="*/ 146744 w 151379"/>
                <a:gd name="connsiteY4" fmla="*/ 53312 h 164542"/>
                <a:gd name="connsiteX5" fmla="*/ 152009 w 151379"/>
                <a:gd name="connsiteY5" fmla="*/ 26985 h 164542"/>
                <a:gd name="connsiteX6" fmla="*/ 141478 w 151379"/>
                <a:gd name="connsiteY6" fmla="*/ 0 h 164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379" h="164542">
                  <a:moveTo>
                    <a:pt x="141478" y="0"/>
                  </a:moveTo>
                  <a:cubicBezTo>
                    <a:pt x="97381" y="23036"/>
                    <a:pt x="55258" y="35541"/>
                    <a:pt x="21033" y="42123"/>
                  </a:cubicBezTo>
                  <a:lnTo>
                    <a:pt x="630" y="135583"/>
                  </a:lnTo>
                  <a:cubicBezTo>
                    <a:pt x="-4635" y="159277"/>
                    <a:pt x="24324" y="175731"/>
                    <a:pt x="42095" y="157961"/>
                  </a:cubicBezTo>
                  <a:lnTo>
                    <a:pt x="146744" y="53312"/>
                  </a:lnTo>
                  <a:cubicBezTo>
                    <a:pt x="153325" y="46730"/>
                    <a:pt x="155958" y="36199"/>
                    <a:pt x="152009" y="26985"/>
                  </a:cubicBezTo>
                  <a:lnTo>
                    <a:pt x="141478" y="0"/>
                  </a:ln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9DFB5AE3-D898-4954-83EB-F883D7B78CF4}"/>
                </a:ext>
              </a:extLst>
            </p:cNvPr>
            <p:cNvSpPr/>
            <p:nvPr/>
          </p:nvSpPr>
          <p:spPr>
            <a:xfrm>
              <a:off x="1529743" y="2878768"/>
              <a:ext cx="348830" cy="348830"/>
            </a:xfrm>
            <a:custGeom>
              <a:avLst/>
              <a:gdLst>
                <a:gd name="connsiteX0" fmla="*/ 233650 w 348829"/>
                <a:gd name="connsiteY0" fmla="*/ 0 h 348829"/>
                <a:gd name="connsiteX1" fmla="*/ 107940 w 348829"/>
                <a:gd name="connsiteY1" fmla="*/ 85562 h 348829"/>
                <a:gd name="connsiteX2" fmla="*/ 0 w 348829"/>
                <a:gd name="connsiteY2" fmla="*/ 312631 h 348829"/>
                <a:gd name="connsiteX3" fmla="*/ 40807 w 348829"/>
                <a:gd name="connsiteY3" fmla="*/ 353437 h 348829"/>
                <a:gd name="connsiteX4" fmla="*/ 268533 w 348829"/>
                <a:gd name="connsiteY4" fmla="*/ 246156 h 348829"/>
                <a:gd name="connsiteX5" fmla="*/ 354095 w 348829"/>
                <a:gd name="connsiteY5" fmla="*/ 121103 h 348829"/>
                <a:gd name="connsiteX6" fmla="*/ 304074 w 348829"/>
                <a:gd name="connsiteY6" fmla="*/ 48705 h 348829"/>
                <a:gd name="connsiteX7" fmla="*/ 233650 w 348829"/>
                <a:gd name="connsiteY7" fmla="*/ 0 h 348829"/>
                <a:gd name="connsiteX8" fmla="*/ 267217 w 348829"/>
                <a:gd name="connsiteY8" fmla="*/ 142165 h 348829"/>
                <a:gd name="connsiteX9" fmla="*/ 211273 w 348829"/>
                <a:gd name="connsiteY9" fmla="*/ 142165 h 348829"/>
                <a:gd name="connsiteX10" fmla="*/ 211273 w 348829"/>
                <a:gd name="connsiteY10" fmla="*/ 86220 h 348829"/>
                <a:gd name="connsiteX11" fmla="*/ 267217 w 348829"/>
                <a:gd name="connsiteY11" fmla="*/ 86220 h 348829"/>
                <a:gd name="connsiteX12" fmla="*/ 267217 w 348829"/>
                <a:gd name="connsiteY12" fmla="*/ 142165 h 34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8829" h="348829">
                  <a:moveTo>
                    <a:pt x="233650" y="0"/>
                  </a:moveTo>
                  <a:cubicBezTo>
                    <a:pt x="194818" y="15796"/>
                    <a:pt x="150721" y="42781"/>
                    <a:pt x="107940" y="85562"/>
                  </a:cubicBezTo>
                  <a:cubicBezTo>
                    <a:pt x="29618" y="163884"/>
                    <a:pt x="6582" y="258661"/>
                    <a:pt x="0" y="312631"/>
                  </a:cubicBezTo>
                  <a:lnTo>
                    <a:pt x="40807" y="353437"/>
                  </a:lnTo>
                  <a:cubicBezTo>
                    <a:pt x="94776" y="346855"/>
                    <a:pt x="190211" y="324478"/>
                    <a:pt x="268533" y="246156"/>
                  </a:cubicBezTo>
                  <a:cubicBezTo>
                    <a:pt x="311314" y="203374"/>
                    <a:pt x="338299" y="159935"/>
                    <a:pt x="354095" y="121103"/>
                  </a:cubicBezTo>
                  <a:cubicBezTo>
                    <a:pt x="345539" y="99384"/>
                    <a:pt x="328427" y="73715"/>
                    <a:pt x="304074" y="48705"/>
                  </a:cubicBezTo>
                  <a:cubicBezTo>
                    <a:pt x="280380" y="25669"/>
                    <a:pt x="255370" y="8556"/>
                    <a:pt x="233650" y="0"/>
                  </a:cubicBezTo>
                  <a:close/>
                  <a:moveTo>
                    <a:pt x="267217" y="142165"/>
                  </a:moveTo>
                  <a:cubicBezTo>
                    <a:pt x="252079" y="157303"/>
                    <a:pt x="227069" y="157303"/>
                    <a:pt x="211273" y="142165"/>
                  </a:cubicBezTo>
                  <a:cubicBezTo>
                    <a:pt x="196135" y="127027"/>
                    <a:pt x="196135" y="102016"/>
                    <a:pt x="211273" y="86220"/>
                  </a:cubicBezTo>
                  <a:cubicBezTo>
                    <a:pt x="226410" y="71082"/>
                    <a:pt x="251421" y="71082"/>
                    <a:pt x="267217" y="86220"/>
                  </a:cubicBezTo>
                  <a:cubicBezTo>
                    <a:pt x="282355" y="102016"/>
                    <a:pt x="282355" y="127027"/>
                    <a:pt x="267217" y="142165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AEEC1DE-EA5C-4267-BEC4-5DC18ED1E55F}"/>
                </a:ext>
              </a:extLst>
            </p:cNvPr>
            <p:cNvSpPr/>
            <p:nvPr/>
          </p:nvSpPr>
          <p:spPr>
            <a:xfrm>
              <a:off x="1452223" y="3215985"/>
              <a:ext cx="92144" cy="92144"/>
            </a:xfrm>
            <a:custGeom>
              <a:avLst/>
              <a:gdLst>
                <a:gd name="connsiteX0" fmla="*/ 76862 w 92143"/>
                <a:gd name="connsiteY0" fmla="*/ 16879 h 92143"/>
                <a:gd name="connsiteX1" fmla="*/ 45928 w 92143"/>
                <a:gd name="connsiteY1" fmla="*/ 10298 h 92143"/>
                <a:gd name="connsiteX2" fmla="*/ 1831 w 92143"/>
                <a:gd name="connsiteY2" fmla="*/ 91911 h 92143"/>
                <a:gd name="connsiteX3" fmla="*/ 83444 w 92143"/>
                <a:gd name="connsiteY3" fmla="*/ 47813 h 92143"/>
                <a:gd name="connsiteX4" fmla="*/ 76862 w 92143"/>
                <a:gd name="connsiteY4" fmla="*/ 16879 h 92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143" h="92143">
                  <a:moveTo>
                    <a:pt x="76862" y="16879"/>
                  </a:moveTo>
                  <a:cubicBezTo>
                    <a:pt x="66332" y="6349"/>
                    <a:pt x="67648" y="-11422"/>
                    <a:pt x="45928" y="10298"/>
                  </a:cubicBezTo>
                  <a:cubicBezTo>
                    <a:pt x="24209" y="32017"/>
                    <a:pt x="-8041" y="81380"/>
                    <a:pt x="1831" y="91911"/>
                  </a:cubicBezTo>
                  <a:cubicBezTo>
                    <a:pt x="12362" y="102442"/>
                    <a:pt x="61725" y="69533"/>
                    <a:pt x="83444" y="47813"/>
                  </a:cubicBezTo>
                  <a:cubicBezTo>
                    <a:pt x="105164" y="25436"/>
                    <a:pt x="87393" y="26752"/>
                    <a:pt x="76862" y="16879"/>
                  </a:cubicBezTo>
                  <a:close/>
                </a:path>
              </a:pathLst>
            </a:custGeom>
            <a:grpFill/>
            <a:ln w="654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Bogle" panose="020B0503020203060203" pitchFamily="34" charset="0"/>
              </a:endParaRPr>
            </a:p>
          </p:txBody>
        </p: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D3DC28B7-C42F-426D-9DC3-60007487A104}"/>
              </a:ext>
            </a:extLst>
          </p:cNvPr>
          <p:cNvSpPr/>
          <p:nvPr/>
        </p:nvSpPr>
        <p:spPr>
          <a:xfrm>
            <a:off x="6003042" y="1151999"/>
            <a:ext cx="118993" cy="5026024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9000">
                <a:srgbClr val="F1EFF0"/>
              </a:gs>
              <a:gs pos="7700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9B83D20-DA0B-4A57-93A2-D315FC7BF630}"/>
              </a:ext>
            </a:extLst>
          </p:cNvPr>
          <p:cNvSpPr/>
          <p:nvPr/>
        </p:nvSpPr>
        <p:spPr>
          <a:xfrm rot="5400000">
            <a:off x="5995023" y="-1033529"/>
            <a:ext cx="135533" cy="9413619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33000">
                <a:srgbClr val="F1EFF0"/>
              </a:gs>
              <a:gs pos="77000">
                <a:schemeClr val="bg2">
                  <a:lumMod val="90000"/>
                </a:schemeClr>
              </a:gs>
              <a:gs pos="100000">
                <a:schemeClr val="bg2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E7D11CB-6C5C-40F4-A166-A6889F07A8A5}"/>
              </a:ext>
            </a:extLst>
          </p:cNvPr>
          <p:cNvSpPr/>
          <p:nvPr/>
        </p:nvSpPr>
        <p:spPr>
          <a:xfrm>
            <a:off x="4833661" y="2424644"/>
            <a:ext cx="2513366" cy="242542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88900" dist="76200" dir="2700000" algn="tl" rotWithShape="0">
              <a:prstClr val="black">
                <a:alpha val="55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all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Bogle" panose="020B0503020203060203" pitchFamily="34" charset="0"/>
              </a:rPr>
              <a:t>HO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Bogle" panose="020B0503020203060203" pitchFamily="34" charset="0"/>
            </a:endParaRP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21B05F26-0F58-3B55-16ED-9743EBDFCAE4}"/>
              </a:ext>
            </a:extLst>
          </p:cNvPr>
          <p:cNvSpPr/>
          <p:nvPr/>
        </p:nvSpPr>
        <p:spPr>
          <a:xfrm>
            <a:off x="-609600" y="488950"/>
            <a:ext cx="228600" cy="228600"/>
          </a:xfrm>
          <a:prstGeom prst="rect">
            <a:avLst/>
          </a:prstGeom>
          <a:solidFill>
            <a:srgbClr val="081F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81F2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6">
            <a:extLst>
              <a:ext uri="{FF2B5EF4-FFF2-40B4-BE49-F238E27FC236}">
                <a16:creationId xmlns:a16="http://schemas.microsoft.com/office/drawing/2014/main" id="{091A825F-40CA-3FD0-792C-1C8548FDE81D}"/>
              </a:ext>
            </a:extLst>
          </p:cNvPr>
          <p:cNvSpPr/>
          <p:nvPr/>
        </p:nvSpPr>
        <p:spPr>
          <a:xfrm>
            <a:off x="-609600" y="829733"/>
            <a:ext cx="228600" cy="228600"/>
          </a:xfrm>
          <a:prstGeom prst="rect">
            <a:avLst/>
          </a:prstGeom>
          <a:solidFill>
            <a:srgbClr val="78B9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78B9E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7">
            <a:extLst>
              <a:ext uri="{FF2B5EF4-FFF2-40B4-BE49-F238E27FC236}">
                <a16:creationId xmlns:a16="http://schemas.microsoft.com/office/drawing/2014/main" id="{0F4284F9-FA1C-C063-A7BC-F7687D9234C1}"/>
              </a:ext>
            </a:extLst>
          </p:cNvPr>
          <p:cNvSpPr/>
          <p:nvPr/>
        </p:nvSpPr>
        <p:spPr>
          <a:xfrm>
            <a:off x="-609600" y="1511299"/>
            <a:ext cx="228600" cy="228600"/>
          </a:xfrm>
          <a:prstGeom prst="rect">
            <a:avLst/>
          </a:prstGeom>
          <a:solidFill>
            <a:srgbClr val="0070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71C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8">
            <a:extLst>
              <a:ext uri="{FF2B5EF4-FFF2-40B4-BE49-F238E27FC236}">
                <a16:creationId xmlns:a16="http://schemas.microsoft.com/office/drawing/2014/main" id="{91A7759A-67EE-55B4-3161-564868E64181}"/>
              </a:ext>
            </a:extLst>
          </p:cNvPr>
          <p:cNvSpPr/>
          <p:nvPr/>
        </p:nvSpPr>
        <p:spPr>
          <a:xfrm>
            <a:off x="-609600" y="1850319"/>
            <a:ext cx="228600" cy="228600"/>
          </a:xfrm>
          <a:prstGeom prst="rect">
            <a:avLst/>
          </a:prstGeom>
          <a:solidFill>
            <a:srgbClr val="EB14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D7E3A4CF-3016-87FF-4563-C4B394E8E8A2}"/>
              </a:ext>
            </a:extLst>
          </p:cNvPr>
          <p:cNvSpPr/>
          <p:nvPr/>
        </p:nvSpPr>
        <p:spPr>
          <a:xfrm>
            <a:off x="-609600" y="2189339"/>
            <a:ext cx="228600" cy="228600"/>
          </a:xfrm>
          <a:prstGeom prst="rect">
            <a:avLst/>
          </a:prstGeom>
          <a:solidFill>
            <a:srgbClr val="FFC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10">
            <a:extLst>
              <a:ext uri="{FF2B5EF4-FFF2-40B4-BE49-F238E27FC236}">
                <a16:creationId xmlns:a16="http://schemas.microsoft.com/office/drawing/2014/main" id="{2F084F60-F949-760D-FA39-9C5072D16653}"/>
              </a:ext>
            </a:extLst>
          </p:cNvPr>
          <p:cNvSpPr/>
          <p:nvPr/>
        </p:nvSpPr>
        <p:spPr>
          <a:xfrm>
            <a:off x="-609600" y="2528359"/>
            <a:ext cx="228600" cy="228600"/>
          </a:xfrm>
          <a:prstGeom prst="rect">
            <a:avLst/>
          </a:prstGeom>
          <a:solidFill>
            <a:srgbClr val="76C0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 11">
            <a:extLst>
              <a:ext uri="{FF2B5EF4-FFF2-40B4-BE49-F238E27FC236}">
                <a16:creationId xmlns:a16="http://schemas.microsoft.com/office/drawing/2014/main" id="{923989BF-09ED-E4BA-7DF3-35D311DAF4DA}"/>
              </a:ext>
            </a:extLst>
          </p:cNvPr>
          <p:cNvSpPr/>
          <p:nvPr/>
        </p:nvSpPr>
        <p:spPr>
          <a:xfrm>
            <a:off x="-609600" y="2867379"/>
            <a:ext cx="228600" cy="228600"/>
          </a:xfrm>
          <a:prstGeom prst="rect">
            <a:avLst/>
          </a:prstGeom>
          <a:solidFill>
            <a:srgbClr val="F475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12">
            <a:extLst>
              <a:ext uri="{FF2B5EF4-FFF2-40B4-BE49-F238E27FC236}">
                <a16:creationId xmlns:a16="http://schemas.microsoft.com/office/drawing/2014/main" id="{E7BD86AA-5B3F-E032-D9E8-2AAAA165985E}"/>
              </a:ext>
            </a:extLst>
          </p:cNvPr>
          <p:cNvSpPr/>
          <p:nvPr/>
        </p:nvSpPr>
        <p:spPr>
          <a:xfrm>
            <a:off x="-609600" y="3206399"/>
            <a:ext cx="228600" cy="228600"/>
          </a:xfrm>
          <a:prstGeom prst="rect">
            <a:avLst/>
          </a:prstGeom>
          <a:solidFill>
            <a:srgbClr val="EE3B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 13">
            <a:extLst>
              <a:ext uri="{FF2B5EF4-FFF2-40B4-BE49-F238E27FC236}">
                <a16:creationId xmlns:a16="http://schemas.microsoft.com/office/drawing/2014/main" id="{CD928B35-563B-71D2-110D-99146AD78190}"/>
              </a:ext>
            </a:extLst>
          </p:cNvPr>
          <p:cNvSpPr/>
          <p:nvPr/>
        </p:nvSpPr>
        <p:spPr>
          <a:xfrm>
            <a:off x="-609600" y="3545417"/>
            <a:ext cx="228600" cy="228600"/>
          </a:xfrm>
          <a:prstGeom prst="rect">
            <a:avLst/>
          </a:prstGeom>
          <a:solidFill>
            <a:srgbClr val="3F3F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" name="Connecteur droit 10">
            <a:extLst>
              <a:ext uri="{FF2B5EF4-FFF2-40B4-BE49-F238E27FC236}">
                <a16:creationId xmlns:a16="http://schemas.microsoft.com/office/drawing/2014/main" id="{497092FF-AE33-ADAE-E903-D3BE8D8E947C}"/>
              </a:ext>
            </a:extLst>
          </p:cNvPr>
          <p:cNvCxnSpPr>
            <a:cxnSpLocks/>
          </p:cNvCxnSpPr>
          <p:nvPr/>
        </p:nvCxnSpPr>
        <p:spPr>
          <a:xfrm flipV="1">
            <a:off x="0" y="679977"/>
            <a:ext cx="8712485" cy="2948"/>
          </a:xfrm>
          <a:prstGeom prst="line">
            <a:avLst/>
          </a:prstGeom>
          <a:ln w="12700">
            <a:solidFill>
              <a:srgbClr val="78B9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3">
            <a:extLst>
              <a:ext uri="{FF2B5EF4-FFF2-40B4-BE49-F238E27FC236}">
                <a16:creationId xmlns:a16="http://schemas.microsoft.com/office/drawing/2014/main" id="{3BF81F3C-7029-F118-69B6-4C2943D89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90" y="0"/>
            <a:ext cx="5798663" cy="832039"/>
          </a:xfrm>
        </p:spPr>
        <p:txBody>
          <a:bodyPr anchor="ctr">
            <a:normAutofit/>
          </a:bodyPr>
          <a:lstStyle/>
          <a:p>
            <a:r>
              <a:rPr lang="en-US" dirty="0"/>
              <a:t>HOW to solve the problem</a:t>
            </a:r>
          </a:p>
        </p:txBody>
      </p:sp>
    </p:spTree>
    <p:extLst>
      <p:ext uri="{BB962C8B-B14F-4D97-AF65-F5344CB8AC3E}">
        <p14:creationId xmlns:p14="http://schemas.microsoft.com/office/powerpoint/2010/main" val="1178993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5" grpId="0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EMPLATELASTEDITED" val="2021-03-17 11:51 PM"/>
  <p:tag name="ICONFILLBACKGROUND" val="Color [A=255, R=255, G=255, B=255]"/>
  <p:tag name="ICONFILLBACKGROUNDTHEME" val="Background 1"/>
  <p:tag name="MTBTACCENT" val="Accent1ColorBoldText"/>
  <p:tag name="ICONENCLOSURE" val="False"/>
  <p:tag name="ICONLINEFILL" val="Color [A=255, R=255, G=255, B=255]"/>
  <p:tag name="ICONLINEFILLTHEME" val="Background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tFNdk2hn60fhTGUSQha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Fkf_G8jasDZ3i_vAGRk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LgAYH4RPV9rBJ64foVw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QLa4dSnhupJbSanNhkK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ttXls0TGowtKQv067E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SKrnNz9pczINP3tOrMx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784Xess42DIdoI8e8ft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HbwJKNUrFxPnJbmbv.f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ttXls0TGowtKQv067E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SKrnNz9pczINP3tOrMx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784Xess42DIdoI8e8ft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HbwJKNUrFxPnJbmbv.f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NNL0aHw_jSK.LcCG5w0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nya.5KnsdM26cbqV0XS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NNL0aHw_jSK.LcCG5w0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J_miwgR46XgfwWRbmH5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nya.5KnsdM26cbqV0X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Scheme1">
      <a:dk1>
        <a:srgbClr val="404040"/>
      </a:dk1>
      <a:lt1>
        <a:srgbClr val="FFFFFF"/>
      </a:lt1>
      <a:dk2>
        <a:srgbClr val="FFFFFF"/>
      </a:dk2>
      <a:lt2>
        <a:srgbClr val="FFFFFF"/>
      </a:lt2>
      <a:accent1>
        <a:srgbClr val="0070CE"/>
      </a:accent1>
      <a:accent2>
        <a:srgbClr val="78B9E7"/>
      </a:accent2>
      <a:accent3>
        <a:srgbClr val="EB148D"/>
      </a:accent3>
      <a:accent4>
        <a:srgbClr val="FFC220"/>
      </a:accent4>
      <a:accent5>
        <a:srgbClr val="76C043"/>
      </a:accent5>
      <a:accent6>
        <a:srgbClr val="F47521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404040"/>
        </a:dk1>
        <a:lt1>
          <a:srgbClr val="FFFFFF"/>
        </a:lt1>
        <a:dk2>
          <a:srgbClr val="FFFFFF"/>
        </a:dk2>
        <a:lt2>
          <a:srgbClr val="FFFFFF"/>
        </a:lt2>
        <a:accent1>
          <a:srgbClr val="0070CE"/>
        </a:accent1>
        <a:accent2>
          <a:srgbClr val="78B9E7"/>
        </a:accent2>
        <a:accent3>
          <a:srgbClr val="EB148D"/>
        </a:accent3>
        <a:accent4>
          <a:srgbClr val="FFC220"/>
        </a:accent4>
        <a:accent5>
          <a:srgbClr val="76C043"/>
        </a:accent5>
        <a:accent6>
          <a:srgbClr val="F4752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6203RX_OFF.potx" id="{3878AE07-4162-42B9-BD8D-7EB0765C6A6A}" vid="{D6C11461-C247-49E1-8DC8-A49535396FCD}"/>
    </a:ext>
  </a:extLst>
</a:theme>
</file>

<file path=ppt/theme/theme10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070CE"/>
      </a:lt1>
      <a:dk2>
        <a:srgbClr val="404040"/>
      </a:dk2>
      <a:lt2>
        <a:srgbClr val="404040"/>
      </a:lt2>
      <a:accent1>
        <a:srgbClr val="FFFFFF"/>
      </a:accent1>
      <a:accent2>
        <a:srgbClr val="78B9E7"/>
      </a:accent2>
      <a:accent3>
        <a:srgbClr val="EB148D"/>
      </a:accent3>
      <a:accent4>
        <a:srgbClr val="FFC220"/>
      </a:accent4>
      <a:accent5>
        <a:srgbClr val="76C043"/>
      </a:accent5>
      <a:accent6>
        <a:srgbClr val="F47521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70CE"/>
        </a:lt1>
        <a:dk2>
          <a:srgbClr val="404040"/>
        </a:dk2>
        <a:lt2>
          <a:srgbClr val="404040"/>
        </a:lt2>
        <a:accent1>
          <a:srgbClr val="FFFFFF"/>
        </a:accent1>
        <a:accent2>
          <a:srgbClr val="78B9E7"/>
        </a:accent2>
        <a:accent3>
          <a:srgbClr val="EB148D"/>
        </a:accent3>
        <a:accent4>
          <a:srgbClr val="FFC220"/>
        </a:accent4>
        <a:accent5>
          <a:srgbClr val="76C043"/>
        </a:accent5>
        <a:accent6>
          <a:srgbClr val="F4752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6203RX_OFF.potx" id="{3878AE07-4162-42B9-BD8D-7EB0765C6A6A}" vid="{B94B89D2-145D-4D42-AD63-28616A2D4A30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A75CF"/>
      </a:accent1>
      <a:accent2>
        <a:srgbClr val="003896"/>
      </a:accent2>
      <a:accent3>
        <a:srgbClr val="6CABE7"/>
      </a:accent3>
      <a:accent4>
        <a:srgbClr val="FDBB30"/>
      </a:accent4>
      <a:accent5>
        <a:srgbClr val="F47B20"/>
      </a:accent5>
      <a:accent6>
        <a:srgbClr val="337321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A75CF"/>
        </a:accent1>
        <a:accent2>
          <a:srgbClr val="003896"/>
        </a:accent2>
        <a:accent3>
          <a:srgbClr val="6CABE7"/>
        </a:accent3>
        <a:accent4>
          <a:srgbClr val="FDBB30"/>
        </a:accent4>
        <a:accent5>
          <a:srgbClr val="F47B20"/>
        </a:accent5>
        <a:accent6>
          <a:srgbClr val="33732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1384YD_OFF.potx" id="{037837D1-A941-42BD-8C05-44FB199C5CF7}" vid="{35BF3E27-E284-4075-8407-B4E521AEEE43}"/>
    </a:ext>
  </a:extLst>
</a:theme>
</file>

<file path=ppt/theme/theme4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5.xml><?xml version="1.0" encoding="utf-8"?>
<a:theme xmlns:a="http://schemas.openxmlformats.org/drawingml/2006/main" name="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6.xml><?xml version="1.0" encoding="utf-8"?>
<a:theme xmlns:a="http://schemas.openxmlformats.org/drawingml/2006/main" name="2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7.xml><?xml version="1.0" encoding="utf-8"?>
<a:theme xmlns:a="http://schemas.openxmlformats.org/drawingml/2006/main" name="3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8.xml><?xml version="1.0" encoding="utf-8"?>
<a:theme xmlns:a="http://schemas.openxmlformats.org/drawingml/2006/main" name="4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9.xml><?xml version="1.0" encoding="utf-8"?>
<a:theme xmlns:a="http://schemas.openxmlformats.org/drawingml/2006/main" name="2_White">
  <a:themeElements>
    <a:clrScheme name="Scheme1">
      <a:dk1>
        <a:srgbClr val="404040"/>
      </a:dk1>
      <a:lt1>
        <a:srgbClr val="FFFFFF"/>
      </a:lt1>
      <a:dk2>
        <a:srgbClr val="FFFFFF"/>
      </a:dk2>
      <a:lt2>
        <a:srgbClr val="FFFFFF"/>
      </a:lt2>
      <a:accent1>
        <a:srgbClr val="0070CE"/>
      </a:accent1>
      <a:accent2>
        <a:srgbClr val="78B9E7"/>
      </a:accent2>
      <a:accent3>
        <a:srgbClr val="EB148D"/>
      </a:accent3>
      <a:accent4>
        <a:srgbClr val="FFC220"/>
      </a:accent4>
      <a:accent5>
        <a:srgbClr val="76C043"/>
      </a:accent5>
      <a:accent6>
        <a:srgbClr val="F47521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404040"/>
        </a:dk1>
        <a:lt1>
          <a:srgbClr val="FFFFFF"/>
        </a:lt1>
        <a:dk2>
          <a:srgbClr val="FFFFFF"/>
        </a:dk2>
        <a:lt2>
          <a:srgbClr val="FFFFFF"/>
        </a:lt2>
        <a:accent1>
          <a:srgbClr val="0070CE"/>
        </a:accent1>
        <a:accent2>
          <a:srgbClr val="78B9E7"/>
        </a:accent2>
        <a:accent3>
          <a:srgbClr val="EB148D"/>
        </a:accent3>
        <a:accent4>
          <a:srgbClr val="FFC220"/>
        </a:accent4>
        <a:accent5>
          <a:srgbClr val="76C043"/>
        </a:accent5>
        <a:accent6>
          <a:srgbClr val="F4752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6203RX_OFF.potx" id="{3878AE07-4162-42B9-BD8D-7EB0765C6A6A}" vid="{D6C11461-C247-49E1-8DC8-A49535396FC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6203RX_OFF</Template>
  <TotalTime>33800</TotalTime>
  <Words>517</Words>
  <Application>Microsoft Office PowerPoint</Application>
  <PresentationFormat>宽屏</PresentationFormat>
  <Paragraphs>114</Paragraphs>
  <Slides>10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0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31" baseType="lpstr">
      <vt:lpstr>等线</vt:lpstr>
      <vt:lpstr>等线 Light</vt:lpstr>
      <vt:lpstr>Arial</vt:lpstr>
      <vt:lpstr>Bogle</vt:lpstr>
      <vt:lpstr>Calibri</vt:lpstr>
      <vt:lpstr>Century Gothic</vt:lpstr>
      <vt:lpstr>Georgia</vt:lpstr>
      <vt:lpstr>Helvetica</vt:lpstr>
      <vt:lpstr>Segoe UI</vt:lpstr>
      <vt:lpstr>Wingdings</vt:lpstr>
      <vt:lpstr>White</vt:lpstr>
      <vt:lpstr>Contrast</vt:lpstr>
      <vt:lpstr>1_White</vt:lpstr>
      <vt:lpstr>Firm Format - template_Blue</vt:lpstr>
      <vt:lpstr>1_Firm Format - template_Blue</vt:lpstr>
      <vt:lpstr>2_Firm Format - template_Blue</vt:lpstr>
      <vt:lpstr>3_Firm Format - template_Blue</vt:lpstr>
      <vt:lpstr>4_Firm Format - template_Blue</vt:lpstr>
      <vt:lpstr>2_White</vt:lpstr>
      <vt:lpstr>Office 主题​​</vt:lpstr>
      <vt:lpstr>think-cell Slide</vt:lpstr>
      <vt:lpstr>What Happened to Digital Procurement Transformation?</vt:lpstr>
      <vt:lpstr>Digital Themes</vt:lpstr>
      <vt:lpstr>Digital Themes for Procurement</vt:lpstr>
      <vt:lpstr>Digitalization applied on Procurement value chain</vt:lpstr>
      <vt:lpstr>Digital Procurement Ecosystem – Multiple players &amp; solutions</vt:lpstr>
      <vt:lpstr>PowerPoint 演示文稿</vt:lpstr>
      <vt:lpstr>Path to Digital Transformation</vt:lpstr>
      <vt:lpstr>WHY benefits from digital are slow to deliver</vt:lpstr>
      <vt:lpstr>HOW to solve the problem</vt:lpstr>
      <vt:lpstr>Thank You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(Arial 44 pt, bold top-aligned)</dc:title>
  <dc:subject/>
  <dc:creator>Lekshmi S</dc:creator>
  <cp:keywords/>
  <dc:description/>
  <cp:lastModifiedBy>Binnie Lin</cp:lastModifiedBy>
  <cp:revision>1349</cp:revision>
  <cp:lastPrinted>2022-10-27T04:23:00Z</cp:lastPrinted>
  <dcterms:created xsi:type="dcterms:W3CDTF">2021-05-14T05:45:58Z</dcterms:created>
  <dcterms:modified xsi:type="dcterms:W3CDTF">2023-12-15T02:13:5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1-03-17 11:51 PM</vt:lpwstr>
  </property>
  <property fmtid="{D5CDD505-2E9C-101B-9397-08002B2CF9AE}" pid="8" name="TemplateCreated">
    <vt:lpwstr>2019-02-27 01:18 PM</vt:lpwstr>
  </property>
  <property fmtid="{D5CDD505-2E9C-101B-9397-08002B2CF9AE}" pid="9" name="MSIP_Label_b24820e8-223f-4ed2-bd95-81c83f641284_Enabled">
    <vt:lpwstr>true</vt:lpwstr>
  </property>
  <property fmtid="{D5CDD505-2E9C-101B-9397-08002B2CF9AE}" pid="10" name="MSIP_Label_b24820e8-223f-4ed2-bd95-81c83f641284_SetDate">
    <vt:lpwstr>2022-10-17T10:09:36Z</vt:lpwstr>
  </property>
  <property fmtid="{D5CDD505-2E9C-101B-9397-08002B2CF9AE}" pid="11" name="MSIP_Label_b24820e8-223f-4ed2-bd95-81c83f641284_Method">
    <vt:lpwstr>Standard</vt:lpwstr>
  </property>
  <property fmtid="{D5CDD505-2E9C-101B-9397-08002B2CF9AE}" pid="12" name="MSIP_Label_b24820e8-223f-4ed2-bd95-81c83f641284_Name">
    <vt:lpwstr>b24820e8-223f-4ed2-bd95-81c83f641284</vt:lpwstr>
  </property>
  <property fmtid="{D5CDD505-2E9C-101B-9397-08002B2CF9AE}" pid="13" name="MSIP_Label_b24820e8-223f-4ed2-bd95-81c83f641284_SiteId">
    <vt:lpwstr>3cbcc3d3-094d-4006-9849-0d11d61f484d</vt:lpwstr>
  </property>
  <property fmtid="{D5CDD505-2E9C-101B-9397-08002B2CF9AE}" pid="14" name="MSIP_Label_b24820e8-223f-4ed2-bd95-81c83f641284_ActionId">
    <vt:lpwstr>e02fc36a-c2b4-4de2-821b-c00191265a34</vt:lpwstr>
  </property>
  <property fmtid="{D5CDD505-2E9C-101B-9397-08002B2CF9AE}" pid="15" name="MSIP_Label_b24820e8-223f-4ed2-bd95-81c83f641284_ContentBits">
    <vt:lpwstr>0</vt:lpwstr>
  </property>
</Properties>
</file>